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64" r:id="rId2"/>
  </p:sldIdLst>
  <p:sldSz cx="12192000" cy="6858000"/>
  <p:notesSz cx="6797675" cy="9928225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03" autoAdjust="0"/>
    <p:restoredTop sz="94614" autoAdjust="0"/>
  </p:normalViewPr>
  <p:slideViewPr>
    <p:cSldViewPr snapToGrid="0" showGuides="1">
      <p:cViewPr varScale="1">
        <p:scale>
          <a:sx n="114" d="100"/>
          <a:sy n="114" d="100"/>
        </p:scale>
        <p:origin x="864" y="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856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9E5567-663A-4D17-B56D-AFC13FE2D709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5FBB4FD-542D-45A6-88C8-EDFADC204D22}">
      <dgm:prSet phldrT="[Text]"/>
      <dgm:spPr/>
      <dgm:t>
        <a:bodyPr/>
        <a:lstStyle/>
        <a:p>
          <a:r>
            <a:rPr lang="de-DE"/>
            <a:t>Ablaufdatum 31.12.2019 und früher</a:t>
          </a:r>
        </a:p>
      </dgm:t>
    </dgm:pt>
    <dgm:pt modelId="{5ADCF467-8B6D-44AF-B29B-C9DB18799556}" type="parTrans" cxnId="{F5564BDE-EC21-4067-9066-6B833BB0EA43}">
      <dgm:prSet/>
      <dgm:spPr/>
      <dgm:t>
        <a:bodyPr/>
        <a:lstStyle/>
        <a:p>
          <a:endParaRPr lang="de-DE"/>
        </a:p>
      </dgm:t>
    </dgm:pt>
    <dgm:pt modelId="{66412404-AAAD-4C0E-9DEC-B217CAEB886A}" type="sibTrans" cxnId="{F5564BDE-EC21-4067-9066-6B833BB0EA43}">
      <dgm:prSet/>
      <dgm:spPr/>
      <dgm:t>
        <a:bodyPr/>
        <a:lstStyle/>
        <a:p>
          <a:endParaRPr lang="de-DE"/>
        </a:p>
      </dgm:t>
    </dgm:pt>
    <dgm:pt modelId="{1AA37FC5-9BE8-465C-AA02-C70ABABB359E}">
      <dgm:prSet phldrT="[Text]"/>
      <dgm:spPr/>
      <dgm:t>
        <a:bodyPr/>
        <a:lstStyle/>
        <a:p>
          <a:r>
            <a:rPr lang="de-DE" dirty="0"/>
            <a:t>keine Sonderregelung für die Verlängerung, die verpassten Stunden müssen nachgereicht werden</a:t>
          </a:r>
        </a:p>
      </dgm:t>
    </dgm:pt>
    <dgm:pt modelId="{9F7A2792-1923-47D2-8432-E8F7BE434EA6}" type="parTrans" cxnId="{7FFEE3AB-23FC-4046-ADBC-5B45738DBEEE}">
      <dgm:prSet/>
      <dgm:spPr/>
      <dgm:t>
        <a:bodyPr/>
        <a:lstStyle/>
        <a:p>
          <a:endParaRPr lang="de-DE"/>
        </a:p>
      </dgm:t>
    </dgm:pt>
    <dgm:pt modelId="{B09D1E27-198D-4C76-A8AA-D08CD641ABEE}" type="sibTrans" cxnId="{7FFEE3AB-23FC-4046-ADBC-5B45738DBEEE}">
      <dgm:prSet/>
      <dgm:spPr/>
      <dgm:t>
        <a:bodyPr/>
        <a:lstStyle/>
        <a:p>
          <a:endParaRPr lang="de-DE"/>
        </a:p>
      </dgm:t>
    </dgm:pt>
    <dgm:pt modelId="{CFAD4497-F452-4D95-9461-C22650631117}">
      <dgm:prSet phldrT="[Text]"/>
      <dgm:spPr/>
      <dgm:t>
        <a:bodyPr/>
        <a:lstStyle/>
        <a:p>
          <a:r>
            <a:rPr lang="de-DE"/>
            <a:t>Rückwirkende Verlängerung der Lizenz nach Einreichung der Stunden</a:t>
          </a:r>
        </a:p>
      </dgm:t>
    </dgm:pt>
    <dgm:pt modelId="{44F0A474-9F3C-42AC-9513-CC2B893AA212}" type="parTrans" cxnId="{DFD45F56-9BBC-409F-A9DE-B54DB8C22307}">
      <dgm:prSet/>
      <dgm:spPr/>
      <dgm:t>
        <a:bodyPr/>
        <a:lstStyle/>
        <a:p>
          <a:endParaRPr lang="de-DE"/>
        </a:p>
      </dgm:t>
    </dgm:pt>
    <dgm:pt modelId="{5B54AAE8-608F-49BA-A3C6-17DFBCF42B0B}" type="sibTrans" cxnId="{DFD45F56-9BBC-409F-A9DE-B54DB8C22307}">
      <dgm:prSet/>
      <dgm:spPr/>
      <dgm:t>
        <a:bodyPr/>
        <a:lstStyle/>
        <a:p>
          <a:endParaRPr lang="de-DE"/>
        </a:p>
      </dgm:t>
    </dgm:pt>
    <dgm:pt modelId="{1DD59E78-EF0E-4C33-A196-FAB5F6F62A3A}" type="pres">
      <dgm:prSet presAssocID="{809E5567-663A-4D17-B56D-AFC13FE2D709}" presName="CompostProcess" presStyleCnt="0">
        <dgm:presLayoutVars>
          <dgm:dir/>
          <dgm:resizeHandles val="exact"/>
        </dgm:presLayoutVars>
      </dgm:prSet>
      <dgm:spPr/>
    </dgm:pt>
    <dgm:pt modelId="{4085268E-4F31-4EDB-9FAF-8EB3FB0BFC00}" type="pres">
      <dgm:prSet presAssocID="{809E5567-663A-4D17-B56D-AFC13FE2D709}" presName="arrow" presStyleLbl="bgShp" presStyleIdx="0" presStyleCnt="1" custScaleX="117647"/>
      <dgm:spPr/>
    </dgm:pt>
    <dgm:pt modelId="{372B6A38-FA0C-49D2-B782-592486390A5E}" type="pres">
      <dgm:prSet presAssocID="{809E5567-663A-4D17-B56D-AFC13FE2D709}" presName="linearProcess" presStyleCnt="0"/>
      <dgm:spPr/>
    </dgm:pt>
    <dgm:pt modelId="{B8271DA2-2862-4536-9293-424FF3048ABD}" type="pres">
      <dgm:prSet presAssocID="{35FBB4FD-542D-45A6-88C8-EDFADC204D22}" presName="textNode" presStyleLbl="node1" presStyleIdx="0" presStyleCnt="3">
        <dgm:presLayoutVars>
          <dgm:bulletEnabled val="1"/>
        </dgm:presLayoutVars>
      </dgm:prSet>
      <dgm:spPr/>
    </dgm:pt>
    <dgm:pt modelId="{E59BBF62-7092-4A5D-941E-89968CAB3CF6}" type="pres">
      <dgm:prSet presAssocID="{66412404-AAAD-4C0E-9DEC-B217CAEB886A}" presName="sibTrans" presStyleCnt="0"/>
      <dgm:spPr/>
    </dgm:pt>
    <dgm:pt modelId="{F809F2EF-0D0E-472B-8E65-8A1DD3EDF20A}" type="pres">
      <dgm:prSet presAssocID="{1AA37FC5-9BE8-465C-AA02-C70ABABB359E}" presName="textNode" presStyleLbl="node1" presStyleIdx="1" presStyleCnt="3">
        <dgm:presLayoutVars>
          <dgm:bulletEnabled val="1"/>
        </dgm:presLayoutVars>
      </dgm:prSet>
      <dgm:spPr/>
    </dgm:pt>
    <dgm:pt modelId="{5AF37B9C-8499-4D73-8968-0CE8FE39EAE9}" type="pres">
      <dgm:prSet presAssocID="{B09D1E27-198D-4C76-A8AA-D08CD641ABEE}" presName="sibTrans" presStyleCnt="0"/>
      <dgm:spPr/>
    </dgm:pt>
    <dgm:pt modelId="{C02CFAB3-57FB-472B-B36F-978BE40960EB}" type="pres">
      <dgm:prSet presAssocID="{CFAD4497-F452-4D95-9461-C22650631117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6C3FB667-06D0-418F-831B-7C856C5D1F55}" type="presOf" srcId="{35FBB4FD-542D-45A6-88C8-EDFADC204D22}" destId="{B8271DA2-2862-4536-9293-424FF3048ABD}" srcOrd="0" destOrd="0" presId="urn:microsoft.com/office/officeart/2005/8/layout/hProcess9"/>
    <dgm:cxn modelId="{DB24966E-8BA7-45CA-A3F9-2CC6A3546F44}" type="presOf" srcId="{1AA37FC5-9BE8-465C-AA02-C70ABABB359E}" destId="{F809F2EF-0D0E-472B-8E65-8A1DD3EDF20A}" srcOrd="0" destOrd="0" presId="urn:microsoft.com/office/officeart/2005/8/layout/hProcess9"/>
    <dgm:cxn modelId="{CC4EF250-21BE-4F19-8A62-5E5ED77D8E1E}" type="presOf" srcId="{809E5567-663A-4D17-B56D-AFC13FE2D709}" destId="{1DD59E78-EF0E-4C33-A196-FAB5F6F62A3A}" srcOrd="0" destOrd="0" presId="urn:microsoft.com/office/officeart/2005/8/layout/hProcess9"/>
    <dgm:cxn modelId="{DFD45F56-9BBC-409F-A9DE-B54DB8C22307}" srcId="{809E5567-663A-4D17-B56D-AFC13FE2D709}" destId="{CFAD4497-F452-4D95-9461-C22650631117}" srcOrd="2" destOrd="0" parTransId="{44F0A474-9F3C-42AC-9513-CC2B893AA212}" sibTransId="{5B54AAE8-608F-49BA-A3C6-17DFBCF42B0B}"/>
    <dgm:cxn modelId="{2EBCAAA8-A7B9-4803-9481-4C58004A51BD}" type="presOf" srcId="{CFAD4497-F452-4D95-9461-C22650631117}" destId="{C02CFAB3-57FB-472B-B36F-978BE40960EB}" srcOrd="0" destOrd="0" presId="urn:microsoft.com/office/officeart/2005/8/layout/hProcess9"/>
    <dgm:cxn modelId="{7FFEE3AB-23FC-4046-ADBC-5B45738DBEEE}" srcId="{809E5567-663A-4D17-B56D-AFC13FE2D709}" destId="{1AA37FC5-9BE8-465C-AA02-C70ABABB359E}" srcOrd="1" destOrd="0" parTransId="{9F7A2792-1923-47D2-8432-E8F7BE434EA6}" sibTransId="{B09D1E27-198D-4C76-A8AA-D08CD641ABEE}"/>
    <dgm:cxn modelId="{F5564BDE-EC21-4067-9066-6B833BB0EA43}" srcId="{809E5567-663A-4D17-B56D-AFC13FE2D709}" destId="{35FBB4FD-542D-45A6-88C8-EDFADC204D22}" srcOrd="0" destOrd="0" parTransId="{5ADCF467-8B6D-44AF-B29B-C9DB18799556}" sibTransId="{66412404-AAAD-4C0E-9DEC-B217CAEB886A}"/>
    <dgm:cxn modelId="{961CC8A1-D7D4-4FE6-97D6-8F05589B767A}" type="presParOf" srcId="{1DD59E78-EF0E-4C33-A196-FAB5F6F62A3A}" destId="{4085268E-4F31-4EDB-9FAF-8EB3FB0BFC00}" srcOrd="0" destOrd="0" presId="urn:microsoft.com/office/officeart/2005/8/layout/hProcess9"/>
    <dgm:cxn modelId="{D2302A3F-4450-4C12-A4F0-FBE013F05ED6}" type="presParOf" srcId="{1DD59E78-EF0E-4C33-A196-FAB5F6F62A3A}" destId="{372B6A38-FA0C-49D2-B782-592486390A5E}" srcOrd="1" destOrd="0" presId="urn:microsoft.com/office/officeart/2005/8/layout/hProcess9"/>
    <dgm:cxn modelId="{A320289F-0CA7-4C41-AE3D-19689C992AB9}" type="presParOf" srcId="{372B6A38-FA0C-49D2-B782-592486390A5E}" destId="{B8271DA2-2862-4536-9293-424FF3048ABD}" srcOrd="0" destOrd="0" presId="urn:microsoft.com/office/officeart/2005/8/layout/hProcess9"/>
    <dgm:cxn modelId="{C3C20026-0D09-42D8-9E9E-2740C44A9557}" type="presParOf" srcId="{372B6A38-FA0C-49D2-B782-592486390A5E}" destId="{E59BBF62-7092-4A5D-941E-89968CAB3CF6}" srcOrd="1" destOrd="0" presId="urn:microsoft.com/office/officeart/2005/8/layout/hProcess9"/>
    <dgm:cxn modelId="{8502F197-41CF-4B8E-A4E9-0D4F306D4849}" type="presParOf" srcId="{372B6A38-FA0C-49D2-B782-592486390A5E}" destId="{F809F2EF-0D0E-472B-8E65-8A1DD3EDF20A}" srcOrd="2" destOrd="0" presId="urn:microsoft.com/office/officeart/2005/8/layout/hProcess9"/>
    <dgm:cxn modelId="{65B981E9-1E8B-4F19-8D43-F460001CB004}" type="presParOf" srcId="{372B6A38-FA0C-49D2-B782-592486390A5E}" destId="{5AF37B9C-8499-4D73-8968-0CE8FE39EAE9}" srcOrd="3" destOrd="0" presId="urn:microsoft.com/office/officeart/2005/8/layout/hProcess9"/>
    <dgm:cxn modelId="{C2B28FD0-2D47-477D-A7C9-911BECFDF10D}" type="presParOf" srcId="{372B6A38-FA0C-49D2-B782-592486390A5E}" destId="{C02CFAB3-57FB-472B-B36F-978BE40960E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9E5567-663A-4D17-B56D-AFC13FE2D709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5FBB4FD-542D-45A6-88C8-EDFADC204D22}">
      <dgm:prSet phldrT="[Text]"/>
      <dgm:spPr/>
      <dgm:t>
        <a:bodyPr/>
        <a:lstStyle/>
        <a:p>
          <a:r>
            <a:rPr lang="de-DE"/>
            <a:t>Ablaufdatum 31.12.2020</a:t>
          </a:r>
        </a:p>
      </dgm:t>
    </dgm:pt>
    <dgm:pt modelId="{5ADCF467-8B6D-44AF-B29B-C9DB18799556}" type="parTrans" cxnId="{F5564BDE-EC21-4067-9066-6B833BB0EA43}">
      <dgm:prSet/>
      <dgm:spPr/>
      <dgm:t>
        <a:bodyPr/>
        <a:lstStyle/>
        <a:p>
          <a:endParaRPr lang="de-DE"/>
        </a:p>
      </dgm:t>
    </dgm:pt>
    <dgm:pt modelId="{66412404-AAAD-4C0E-9DEC-B217CAEB886A}" type="sibTrans" cxnId="{F5564BDE-EC21-4067-9066-6B833BB0EA43}">
      <dgm:prSet/>
      <dgm:spPr/>
      <dgm:t>
        <a:bodyPr/>
        <a:lstStyle/>
        <a:p>
          <a:endParaRPr lang="de-DE"/>
        </a:p>
      </dgm:t>
    </dgm:pt>
    <dgm:pt modelId="{1AA37FC5-9BE8-465C-AA02-C70ABABB359E}">
      <dgm:prSet phldrT="[Text]"/>
      <dgm:spPr/>
      <dgm:t>
        <a:bodyPr/>
        <a:lstStyle/>
        <a:p>
          <a:r>
            <a:rPr lang="de-DE"/>
            <a:t>20 Lerneinheiten sind bereits absolviert</a:t>
          </a:r>
        </a:p>
      </dgm:t>
    </dgm:pt>
    <dgm:pt modelId="{9F7A2792-1923-47D2-8432-E8F7BE434EA6}" type="parTrans" cxnId="{7FFEE3AB-23FC-4046-ADBC-5B45738DBEEE}">
      <dgm:prSet/>
      <dgm:spPr/>
      <dgm:t>
        <a:bodyPr/>
        <a:lstStyle/>
        <a:p>
          <a:endParaRPr lang="de-DE"/>
        </a:p>
      </dgm:t>
    </dgm:pt>
    <dgm:pt modelId="{B09D1E27-198D-4C76-A8AA-D08CD641ABEE}" type="sibTrans" cxnId="{7FFEE3AB-23FC-4046-ADBC-5B45738DBEEE}">
      <dgm:prSet/>
      <dgm:spPr/>
      <dgm:t>
        <a:bodyPr/>
        <a:lstStyle/>
        <a:p>
          <a:endParaRPr lang="de-DE"/>
        </a:p>
      </dgm:t>
    </dgm:pt>
    <dgm:pt modelId="{CFAD4497-F452-4D95-9461-C22650631117}">
      <dgm:prSet phldrT="[Text]"/>
      <dgm:spPr/>
      <dgm:t>
        <a:bodyPr/>
        <a:lstStyle/>
        <a:p>
          <a:r>
            <a:rPr lang="de-DE" dirty="0"/>
            <a:t>Einreichung (Fortbildungsnachweis und auslaufende Karte) kann ab dem 30.06.2020 erfolgen </a:t>
          </a:r>
        </a:p>
      </dgm:t>
    </dgm:pt>
    <dgm:pt modelId="{44F0A474-9F3C-42AC-9513-CC2B893AA212}" type="parTrans" cxnId="{DFD45F56-9BBC-409F-A9DE-B54DB8C22307}">
      <dgm:prSet/>
      <dgm:spPr/>
      <dgm:t>
        <a:bodyPr/>
        <a:lstStyle/>
        <a:p>
          <a:endParaRPr lang="de-DE"/>
        </a:p>
      </dgm:t>
    </dgm:pt>
    <dgm:pt modelId="{5B54AAE8-608F-49BA-A3C6-17DFBCF42B0B}" type="sibTrans" cxnId="{DFD45F56-9BBC-409F-A9DE-B54DB8C22307}">
      <dgm:prSet/>
      <dgm:spPr/>
      <dgm:t>
        <a:bodyPr/>
        <a:lstStyle/>
        <a:p>
          <a:endParaRPr lang="de-DE"/>
        </a:p>
      </dgm:t>
    </dgm:pt>
    <dgm:pt modelId="{F5D12123-7259-4828-A112-45FB30483ACA}">
      <dgm:prSet/>
      <dgm:spPr/>
      <dgm:t>
        <a:bodyPr/>
        <a:lstStyle/>
        <a:p>
          <a:r>
            <a:rPr lang="de-DE"/>
            <a:t>Verlängerung bis 31.12.2023</a:t>
          </a:r>
        </a:p>
      </dgm:t>
    </dgm:pt>
    <dgm:pt modelId="{972B3CE1-55BD-41B5-8F55-2566CA5E1995}" type="parTrans" cxnId="{E3074FAD-400E-4F5F-B5F8-A8FC7F198ABE}">
      <dgm:prSet/>
      <dgm:spPr/>
      <dgm:t>
        <a:bodyPr/>
        <a:lstStyle/>
        <a:p>
          <a:endParaRPr lang="de-DE"/>
        </a:p>
      </dgm:t>
    </dgm:pt>
    <dgm:pt modelId="{93940ABA-B300-49B8-98A0-AC95FA61E949}" type="sibTrans" cxnId="{E3074FAD-400E-4F5F-B5F8-A8FC7F198ABE}">
      <dgm:prSet/>
      <dgm:spPr/>
      <dgm:t>
        <a:bodyPr/>
        <a:lstStyle/>
        <a:p>
          <a:endParaRPr lang="de-DE"/>
        </a:p>
      </dgm:t>
    </dgm:pt>
    <dgm:pt modelId="{1DD59E78-EF0E-4C33-A196-FAB5F6F62A3A}" type="pres">
      <dgm:prSet presAssocID="{809E5567-663A-4D17-B56D-AFC13FE2D709}" presName="CompostProcess" presStyleCnt="0">
        <dgm:presLayoutVars>
          <dgm:dir/>
          <dgm:resizeHandles val="exact"/>
        </dgm:presLayoutVars>
      </dgm:prSet>
      <dgm:spPr/>
    </dgm:pt>
    <dgm:pt modelId="{4085268E-4F31-4EDB-9FAF-8EB3FB0BFC00}" type="pres">
      <dgm:prSet presAssocID="{809E5567-663A-4D17-B56D-AFC13FE2D709}" presName="arrow" presStyleLbl="bgShp" presStyleIdx="0" presStyleCnt="1" custScaleX="117647"/>
      <dgm:spPr/>
    </dgm:pt>
    <dgm:pt modelId="{372B6A38-FA0C-49D2-B782-592486390A5E}" type="pres">
      <dgm:prSet presAssocID="{809E5567-663A-4D17-B56D-AFC13FE2D709}" presName="linearProcess" presStyleCnt="0"/>
      <dgm:spPr/>
    </dgm:pt>
    <dgm:pt modelId="{B8271DA2-2862-4536-9293-424FF3048ABD}" type="pres">
      <dgm:prSet presAssocID="{35FBB4FD-542D-45A6-88C8-EDFADC204D22}" presName="textNode" presStyleLbl="node1" presStyleIdx="0" presStyleCnt="4">
        <dgm:presLayoutVars>
          <dgm:bulletEnabled val="1"/>
        </dgm:presLayoutVars>
      </dgm:prSet>
      <dgm:spPr/>
    </dgm:pt>
    <dgm:pt modelId="{E59BBF62-7092-4A5D-941E-89968CAB3CF6}" type="pres">
      <dgm:prSet presAssocID="{66412404-AAAD-4C0E-9DEC-B217CAEB886A}" presName="sibTrans" presStyleCnt="0"/>
      <dgm:spPr/>
    </dgm:pt>
    <dgm:pt modelId="{F809F2EF-0D0E-472B-8E65-8A1DD3EDF20A}" type="pres">
      <dgm:prSet presAssocID="{1AA37FC5-9BE8-465C-AA02-C70ABABB359E}" presName="textNode" presStyleLbl="node1" presStyleIdx="1" presStyleCnt="4">
        <dgm:presLayoutVars>
          <dgm:bulletEnabled val="1"/>
        </dgm:presLayoutVars>
      </dgm:prSet>
      <dgm:spPr/>
    </dgm:pt>
    <dgm:pt modelId="{5AF37B9C-8499-4D73-8968-0CE8FE39EAE9}" type="pres">
      <dgm:prSet presAssocID="{B09D1E27-198D-4C76-A8AA-D08CD641ABEE}" presName="sibTrans" presStyleCnt="0"/>
      <dgm:spPr/>
    </dgm:pt>
    <dgm:pt modelId="{C02CFAB3-57FB-472B-B36F-978BE40960EB}" type="pres">
      <dgm:prSet presAssocID="{CFAD4497-F452-4D95-9461-C22650631117}" presName="textNode" presStyleLbl="node1" presStyleIdx="2" presStyleCnt="4">
        <dgm:presLayoutVars>
          <dgm:bulletEnabled val="1"/>
        </dgm:presLayoutVars>
      </dgm:prSet>
      <dgm:spPr/>
    </dgm:pt>
    <dgm:pt modelId="{4E90E416-A3F5-4902-B81C-8F6193D8E4D4}" type="pres">
      <dgm:prSet presAssocID="{5B54AAE8-608F-49BA-A3C6-17DFBCF42B0B}" presName="sibTrans" presStyleCnt="0"/>
      <dgm:spPr/>
    </dgm:pt>
    <dgm:pt modelId="{027F1594-1F56-4740-9EB9-AAA3AFD0E9A3}" type="pres">
      <dgm:prSet presAssocID="{F5D12123-7259-4828-A112-45FB30483ACA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6C3FB667-06D0-418F-831B-7C856C5D1F55}" type="presOf" srcId="{35FBB4FD-542D-45A6-88C8-EDFADC204D22}" destId="{B8271DA2-2862-4536-9293-424FF3048ABD}" srcOrd="0" destOrd="0" presId="urn:microsoft.com/office/officeart/2005/8/layout/hProcess9"/>
    <dgm:cxn modelId="{DB24966E-8BA7-45CA-A3F9-2CC6A3546F44}" type="presOf" srcId="{1AA37FC5-9BE8-465C-AA02-C70ABABB359E}" destId="{F809F2EF-0D0E-472B-8E65-8A1DD3EDF20A}" srcOrd="0" destOrd="0" presId="urn:microsoft.com/office/officeart/2005/8/layout/hProcess9"/>
    <dgm:cxn modelId="{CC4EF250-21BE-4F19-8A62-5E5ED77D8E1E}" type="presOf" srcId="{809E5567-663A-4D17-B56D-AFC13FE2D709}" destId="{1DD59E78-EF0E-4C33-A196-FAB5F6F62A3A}" srcOrd="0" destOrd="0" presId="urn:microsoft.com/office/officeart/2005/8/layout/hProcess9"/>
    <dgm:cxn modelId="{DFD45F56-9BBC-409F-A9DE-B54DB8C22307}" srcId="{809E5567-663A-4D17-B56D-AFC13FE2D709}" destId="{CFAD4497-F452-4D95-9461-C22650631117}" srcOrd="2" destOrd="0" parTransId="{44F0A474-9F3C-42AC-9513-CC2B893AA212}" sibTransId="{5B54AAE8-608F-49BA-A3C6-17DFBCF42B0B}"/>
    <dgm:cxn modelId="{A417C89E-C350-416E-86F5-BA463E7D3825}" type="presOf" srcId="{F5D12123-7259-4828-A112-45FB30483ACA}" destId="{027F1594-1F56-4740-9EB9-AAA3AFD0E9A3}" srcOrd="0" destOrd="0" presId="urn:microsoft.com/office/officeart/2005/8/layout/hProcess9"/>
    <dgm:cxn modelId="{2EBCAAA8-A7B9-4803-9481-4C58004A51BD}" type="presOf" srcId="{CFAD4497-F452-4D95-9461-C22650631117}" destId="{C02CFAB3-57FB-472B-B36F-978BE40960EB}" srcOrd="0" destOrd="0" presId="urn:microsoft.com/office/officeart/2005/8/layout/hProcess9"/>
    <dgm:cxn modelId="{7FFEE3AB-23FC-4046-ADBC-5B45738DBEEE}" srcId="{809E5567-663A-4D17-B56D-AFC13FE2D709}" destId="{1AA37FC5-9BE8-465C-AA02-C70ABABB359E}" srcOrd="1" destOrd="0" parTransId="{9F7A2792-1923-47D2-8432-E8F7BE434EA6}" sibTransId="{B09D1E27-198D-4C76-A8AA-D08CD641ABEE}"/>
    <dgm:cxn modelId="{E3074FAD-400E-4F5F-B5F8-A8FC7F198ABE}" srcId="{809E5567-663A-4D17-B56D-AFC13FE2D709}" destId="{F5D12123-7259-4828-A112-45FB30483ACA}" srcOrd="3" destOrd="0" parTransId="{972B3CE1-55BD-41B5-8F55-2566CA5E1995}" sibTransId="{93940ABA-B300-49B8-98A0-AC95FA61E949}"/>
    <dgm:cxn modelId="{F5564BDE-EC21-4067-9066-6B833BB0EA43}" srcId="{809E5567-663A-4D17-B56D-AFC13FE2D709}" destId="{35FBB4FD-542D-45A6-88C8-EDFADC204D22}" srcOrd="0" destOrd="0" parTransId="{5ADCF467-8B6D-44AF-B29B-C9DB18799556}" sibTransId="{66412404-AAAD-4C0E-9DEC-B217CAEB886A}"/>
    <dgm:cxn modelId="{961CC8A1-D7D4-4FE6-97D6-8F05589B767A}" type="presParOf" srcId="{1DD59E78-EF0E-4C33-A196-FAB5F6F62A3A}" destId="{4085268E-4F31-4EDB-9FAF-8EB3FB0BFC00}" srcOrd="0" destOrd="0" presId="urn:microsoft.com/office/officeart/2005/8/layout/hProcess9"/>
    <dgm:cxn modelId="{D2302A3F-4450-4C12-A4F0-FBE013F05ED6}" type="presParOf" srcId="{1DD59E78-EF0E-4C33-A196-FAB5F6F62A3A}" destId="{372B6A38-FA0C-49D2-B782-592486390A5E}" srcOrd="1" destOrd="0" presId="urn:microsoft.com/office/officeart/2005/8/layout/hProcess9"/>
    <dgm:cxn modelId="{A320289F-0CA7-4C41-AE3D-19689C992AB9}" type="presParOf" srcId="{372B6A38-FA0C-49D2-B782-592486390A5E}" destId="{B8271DA2-2862-4536-9293-424FF3048ABD}" srcOrd="0" destOrd="0" presId="urn:microsoft.com/office/officeart/2005/8/layout/hProcess9"/>
    <dgm:cxn modelId="{C3C20026-0D09-42D8-9E9E-2740C44A9557}" type="presParOf" srcId="{372B6A38-FA0C-49D2-B782-592486390A5E}" destId="{E59BBF62-7092-4A5D-941E-89968CAB3CF6}" srcOrd="1" destOrd="0" presId="urn:microsoft.com/office/officeart/2005/8/layout/hProcess9"/>
    <dgm:cxn modelId="{8502F197-41CF-4B8E-A4E9-0D4F306D4849}" type="presParOf" srcId="{372B6A38-FA0C-49D2-B782-592486390A5E}" destId="{F809F2EF-0D0E-472B-8E65-8A1DD3EDF20A}" srcOrd="2" destOrd="0" presId="urn:microsoft.com/office/officeart/2005/8/layout/hProcess9"/>
    <dgm:cxn modelId="{65B981E9-1E8B-4F19-8D43-F460001CB004}" type="presParOf" srcId="{372B6A38-FA0C-49D2-B782-592486390A5E}" destId="{5AF37B9C-8499-4D73-8968-0CE8FE39EAE9}" srcOrd="3" destOrd="0" presId="urn:microsoft.com/office/officeart/2005/8/layout/hProcess9"/>
    <dgm:cxn modelId="{C2B28FD0-2D47-477D-A7C9-911BECFDF10D}" type="presParOf" srcId="{372B6A38-FA0C-49D2-B782-592486390A5E}" destId="{C02CFAB3-57FB-472B-B36F-978BE40960EB}" srcOrd="4" destOrd="0" presId="urn:microsoft.com/office/officeart/2005/8/layout/hProcess9"/>
    <dgm:cxn modelId="{C6E61B51-28C3-419A-82E7-EB6C85FE7D05}" type="presParOf" srcId="{372B6A38-FA0C-49D2-B782-592486390A5E}" destId="{4E90E416-A3F5-4902-B81C-8F6193D8E4D4}" srcOrd="5" destOrd="0" presId="urn:microsoft.com/office/officeart/2005/8/layout/hProcess9"/>
    <dgm:cxn modelId="{B7EF091F-A057-4399-A284-BC2F2C73F203}" type="presParOf" srcId="{372B6A38-FA0C-49D2-B782-592486390A5E}" destId="{027F1594-1F56-4740-9EB9-AAA3AFD0E9A3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09E5567-663A-4D17-B56D-AFC13FE2D709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5FBB4FD-542D-45A6-88C8-EDFADC204D22}">
      <dgm:prSet phldrT="[Text]"/>
      <dgm:spPr/>
      <dgm:t>
        <a:bodyPr/>
        <a:lstStyle/>
        <a:p>
          <a:r>
            <a:rPr lang="de-DE"/>
            <a:t>Ablaufdatum 31.12.2020</a:t>
          </a:r>
        </a:p>
      </dgm:t>
    </dgm:pt>
    <dgm:pt modelId="{5ADCF467-8B6D-44AF-B29B-C9DB18799556}" type="parTrans" cxnId="{F5564BDE-EC21-4067-9066-6B833BB0EA43}">
      <dgm:prSet/>
      <dgm:spPr/>
      <dgm:t>
        <a:bodyPr/>
        <a:lstStyle/>
        <a:p>
          <a:endParaRPr lang="de-DE"/>
        </a:p>
      </dgm:t>
    </dgm:pt>
    <dgm:pt modelId="{66412404-AAAD-4C0E-9DEC-B217CAEB886A}" type="sibTrans" cxnId="{F5564BDE-EC21-4067-9066-6B833BB0EA43}">
      <dgm:prSet/>
      <dgm:spPr/>
      <dgm:t>
        <a:bodyPr/>
        <a:lstStyle/>
        <a:p>
          <a:endParaRPr lang="de-DE"/>
        </a:p>
      </dgm:t>
    </dgm:pt>
    <dgm:pt modelId="{1AA37FC5-9BE8-465C-AA02-C70ABABB359E}">
      <dgm:prSet phldrT="[Text]"/>
      <dgm:spPr/>
      <dgm:t>
        <a:bodyPr/>
        <a:lstStyle/>
        <a:p>
          <a:r>
            <a:rPr lang="de-DE"/>
            <a:t>20 Lerneinheiten sind noch nicht absolviert</a:t>
          </a:r>
        </a:p>
      </dgm:t>
    </dgm:pt>
    <dgm:pt modelId="{9F7A2792-1923-47D2-8432-E8F7BE434EA6}" type="parTrans" cxnId="{7FFEE3AB-23FC-4046-ADBC-5B45738DBEEE}">
      <dgm:prSet/>
      <dgm:spPr/>
      <dgm:t>
        <a:bodyPr/>
        <a:lstStyle/>
        <a:p>
          <a:endParaRPr lang="de-DE"/>
        </a:p>
      </dgm:t>
    </dgm:pt>
    <dgm:pt modelId="{B09D1E27-198D-4C76-A8AA-D08CD641ABEE}" type="sibTrans" cxnId="{7FFEE3AB-23FC-4046-ADBC-5B45738DBEEE}">
      <dgm:prSet/>
      <dgm:spPr/>
      <dgm:t>
        <a:bodyPr/>
        <a:lstStyle/>
        <a:p>
          <a:endParaRPr lang="de-DE"/>
        </a:p>
      </dgm:t>
    </dgm:pt>
    <dgm:pt modelId="{CFAD4497-F452-4D95-9461-C22650631117}">
      <dgm:prSet phldrT="[Text]"/>
      <dgm:spPr/>
      <dgm:t>
        <a:bodyPr/>
        <a:lstStyle/>
        <a:p>
          <a:r>
            <a:rPr lang="de-DE"/>
            <a:t>Fristverlängerung für die Absolvierung der Einheiten bis 31.12.2021</a:t>
          </a:r>
        </a:p>
      </dgm:t>
    </dgm:pt>
    <dgm:pt modelId="{44F0A474-9F3C-42AC-9513-CC2B893AA212}" type="parTrans" cxnId="{DFD45F56-9BBC-409F-A9DE-B54DB8C22307}">
      <dgm:prSet/>
      <dgm:spPr/>
      <dgm:t>
        <a:bodyPr/>
        <a:lstStyle/>
        <a:p>
          <a:endParaRPr lang="de-DE"/>
        </a:p>
      </dgm:t>
    </dgm:pt>
    <dgm:pt modelId="{5B54AAE8-608F-49BA-A3C6-17DFBCF42B0B}" type="sibTrans" cxnId="{DFD45F56-9BBC-409F-A9DE-B54DB8C22307}">
      <dgm:prSet/>
      <dgm:spPr/>
      <dgm:t>
        <a:bodyPr/>
        <a:lstStyle/>
        <a:p>
          <a:endParaRPr lang="de-DE"/>
        </a:p>
      </dgm:t>
    </dgm:pt>
    <dgm:pt modelId="{F5D12123-7259-4828-A112-45FB30483ACA}">
      <dgm:prSet/>
      <dgm:spPr/>
      <dgm:t>
        <a:bodyPr/>
        <a:lstStyle/>
        <a:p>
          <a:r>
            <a:rPr lang="de-DE" dirty="0"/>
            <a:t>Nach Absolvierung der Stunden können diese zur Verlängerung </a:t>
          </a:r>
          <a:r>
            <a:rPr lang="de-DE"/>
            <a:t>eingereicht werden</a:t>
          </a:r>
          <a:endParaRPr lang="de-DE" dirty="0"/>
        </a:p>
      </dgm:t>
    </dgm:pt>
    <dgm:pt modelId="{972B3CE1-55BD-41B5-8F55-2566CA5E1995}" type="parTrans" cxnId="{E3074FAD-400E-4F5F-B5F8-A8FC7F198ABE}">
      <dgm:prSet/>
      <dgm:spPr/>
      <dgm:t>
        <a:bodyPr/>
        <a:lstStyle/>
        <a:p>
          <a:endParaRPr lang="de-DE"/>
        </a:p>
      </dgm:t>
    </dgm:pt>
    <dgm:pt modelId="{93940ABA-B300-49B8-98A0-AC95FA61E949}" type="sibTrans" cxnId="{E3074FAD-400E-4F5F-B5F8-A8FC7F198ABE}">
      <dgm:prSet/>
      <dgm:spPr/>
      <dgm:t>
        <a:bodyPr/>
        <a:lstStyle/>
        <a:p>
          <a:endParaRPr lang="de-DE"/>
        </a:p>
      </dgm:t>
    </dgm:pt>
    <dgm:pt modelId="{8AE31CBC-C1F7-46E8-B8C9-2D3AC150098B}">
      <dgm:prSet/>
      <dgm:spPr/>
      <dgm:t>
        <a:bodyPr/>
        <a:lstStyle/>
        <a:p>
          <a:r>
            <a:rPr lang="de-DE" dirty="0"/>
            <a:t> Mit dem beigefügten  Formular wird die Lizenzgültigkeit bis 31.12.2021 bestätigt</a:t>
          </a:r>
        </a:p>
      </dgm:t>
    </dgm:pt>
    <dgm:pt modelId="{9A5A029F-F44D-4F79-9CDC-1C555B73B360}" type="parTrans" cxnId="{C8B92ADC-4C3E-4948-9FFF-C44C6C50182C}">
      <dgm:prSet/>
      <dgm:spPr/>
      <dgm:t>
        <a:bodyPr/>
        <a:lstStyle/>
        <a:p>
          <a:endParaRPr lang="de-DE"/>
        </a:p>
      </dgm:t>
    </dgm:pt>
    <dgm:pt modelId="{1FCF7992-0135-418D-8BCC-654076D7C48E}" type="sibTrans" cxnId="{C8B92ADC-4C3E-4948-9FFF-C44C6C50182C}">
      <dgm:prSet/>
      <dgm:spPr/>
      <dgm:t>
        <a:bodyPr/>
        <a:lstStyle/>
        <a:p>
          <a:endParaRPr lang="de-DE"/>
        </a:p>
      </dgm:t>
    </dgm:pt>
    <dgm:pt modelId="{0E406812-6756-4C1E-AEF8-B5D60FCBBC19}">
      <dgm:prSet/>
      <dgm:spPr/>
      <dgm:t>
        <a:bodyPr/>
        <a:lstStyle/>
        <a:p>
          <a:r>
            <a:rPr lang="de-DE"/>
            <a:t>Verlängerung bis 31.12.2023</a:t>
          </a:r>
        </a:p>
      </dgm:t>
    </dgm:pt>
    <dgm:pt modelId="{904A1081-421E-4DA4-8F3D-0A73FDE2461F}" type="parTrans" cxnId="{28905F2A-077D-4A9B-B30F-D890152DBC29}">
      <dgm:prSet/>
      <dgm:spPr/>
      <dgm:t>
        <a:bodyPr/>
        <a:lstStyle/>
        <a:p>
          <a:endParaRPr lang="de-DE"/>
        </a:p>
      </dgm:t>
    </dgm:pt>
    <dgm:pt modelId="{C54D78A6-7BE3-4614-A7F3-17FFC4EA5D5A}" type="sibTrans" cxnId="{28905F2A-077D-4A9B-B30F-D890152DBC29}">
      <dgm:prSet/>
      <dgm:spPr/>
      <dgm:t>
        <a:bodyPr/>
        <a:lstStyle/>
        <a:p>
          <a:endParaRPr lang="de-DE"/>
        </a:p>
      </dgm:t>
    </dgm:pt>
    <dgm:pt modelId="{1DD59E78-EF0E-4C33-A196-FAB5F6F62A3A}" type="pres">
      <dgm:prSet presAssocID="{809E5567-663A-4D17-B56D-AFC13FE2D709}" presName="CompostProcess" presStyleCnt="0">
        <dgm:presLayoutVars>
          <dgm:dir/>
          <dgm:resizeHandles val="exact"/>
        </dgm:presLayoutVars>
      </dgm:prSet>
      <dgm:spPr/>
    </dgm:pt>
    <dgm:pt modelId="{4085268E-4F31-4EDB-9FAF-8EB3FB0BFC00}" type="pres">
      <dgm:prSet presAssocID="{809E5567-663A-4D17-B56D-AFC13FE2D709}" presName="arrow" presStyleLbl="bgShp" presStyleIdx="0" presStyleCnt="1" custScaleX="117647"/>
      <dgm:spPr/>
    </dgm:pt>
    <dgm:pt modelId="{372B6A38-FA0C-49D2-B782-592486390A5E}" type="pres">
      <dgm:prSet presAssocID="{809E5567-663A-4D17-B56D-AFC13FE2D709}" presName="linearProcess" presStyleCnt="0"/>
      <dgm:spPr/>
    </dgm:pt>
    <dgm:pt modelId="{B8271DA2-2862-4536-9293-424FF3048ABD}" type="pres">
      <dgm:prSet presAssocID="{35FBB4FD-542D-45A6-88C8-EDFADC204D22}" presName="textNode" presStyleLbl="node1" presStyleIdx="0" presStyleCnt="6">
        <dgm:presLayoutVars>
          <dgm:bulletEnabled val="1"/>
        </dgm:presLayoutVars>
      </dgm:prSet>
      <dgm:spPr/>
    </dgm:pt>
    <dgm:pt modelId="{E59BBF62-7092-4A5D-941E-89968CAB3CF6}" type="pres">
      <dgm:prSet presAssocID="{66412404-AAAD-4C0E-9DEC-B217CAEB886A}" presName="sibTrans" presStyleCnt="0"/>
      <dgm:spPr/>
    </dgm:pt>
    <dgm:pt modelId="{F809F2EF-0D0E-472B-8E65-8A1DD3EDF20A}" type="pres">
      <dgm:prSet presAssocID="{1AA37FC5-9BE8-465C-AA02-C70ABABB359E}" presName="textNode" presStyleLbl="node1" presStyleIdx="1" presStyleCnt="6">
        <dgm:presLayoutVars>
          <dgm:bulletEnabled val="1"/>
        </dgm:presLayoutVars>
      </dgm:prSet>
      <dgm:spPr/>
    </dgm:pt>
    <dgm:pt modelId="{5AF37B9C-8499-4D73-8968-0CE8FE39EAE9}" type="pres">
      <dgm:prSet presAssocID="{B09D1E27-198D-4C76-A8AA-D08CD641ABEE}" presName="sibTrans" presStyleCnt="0"/>
      <dgm:spPr/>
    </dgm:pt>
    <dgm:pt modelId="{C02CFAB3-57FB-472B-B36F-978BE40960EB}" type="pres">
      <dgm:prSet presAssocID="{CFAD4497-F452-4D95-9461-C22650631117}" presName="textNode" presStyleLbl="node1" presStyleIdx="2" presStyleCnt="6">
        <dgm:presLayoutVars>
          <dgm:bulletEnabled val="1"/>
        </dgm:presLayoutVars>
      </dgm:prSet>
      <dgm:spPr/>
    </dgm:pt>
    <dgm:pt modelId="{4E90E416-A3F5-4902-B81C-8F6193D8E4D4}" type="pres">
      <dgm:prSet presAssocID="{5B54AAE8-608F-49BA-A3C6-17DFBCF42B0B}" presName="sibTrans" presStyleCnt="0"/>
      <dgm:spPr/>
    </dgm:pt>
    <dgm:pt modelId="{E34E11FE-6288-494C-B668-BB2DB5D86B81}" type="pres">
      <dgm:prSet presAssocID="{8AE31CBC-C1F7-46E8-B8C9-2D3AC150098B}" presName="textNode" presStyleLbl="node1" presStyleIdx="3" presStyleCnt="6">
        <dgm:presLayoutVars>
          <dgm:bulletEnabled val="1"/>
        </dgm:presLayoutVars>
      </dgm:prSet>
      <dgm:spPr/>
    </dgm:pt>
    <dgm:pt modelId="{F7C9B3B1-C5C9-4BEE-B4DC-C77E9E191D5F}" type="pres">
      <dgm:prSet presAssocID="{1FCF7992-0135-418D-8BCC-654076D7C48E}" presName="sibTrans" presStyleCnt="0"/>
      <dgm:spPr/>
    </dgm:pt>
    <dgm:pt modelId="{027F1594-1F56-4740-9EB9-AAA3AFD0E9A3}" type="pres">
      <dgm:prSet presAssocID="{F5D12123-7259-4828-A112-45FB30483ACA}" presName="textNode" presStyleLbl="node1" presStyleIdx="4" presStyleCnt="6">
        <dgm:presLayoutVars>
          <dgm:bulletEnabled val="1"/>
        </dgm:presLayoutVars>
      </dgm:prSet>
      <dgm:spPr/>
    </dgm:pt>
    <dgm:pt modelId="{9FAAD10D-C018-4A80-838A-F7E241E8936E}" type="pres">
      <dgm:prSet presAssocID="{93940ABA-B300-49B8-98A0-AC95FA61E949}" presName="sibTrans" presStyleCnt="0"/>
      <dgm:spPr/>
    </dgm:pt>
    <dgm:pt modelId="{C1D444D9-A9A9-4565-9CA6-F5011F24A23D}" type="pres">
      <dgm:prSet presAssocID="{0E406812-6756-4C1E-AEF8-B5D60FCBBC19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50772610-C605-4257-97AF-3D1355D10BFF}" type="presOf" srcId="{0E406812-6756-4C1E-AEF8-B5D60FCBBC19}" destId="{C1D444D9-A9A9-4565-9CA6-F5011F24A23D}" srcOrd="0" destOrd="0" presId="urn:microsoft.com/office/officeart/2005/8/layout/hProcess9"/>
    <dgm:cxn modelId="{28905F2A-077D-4A9B-B30F-D890152DBC29}" srcId="{809E5567-663A-4D17-B56D-AFC13FE2D709}" destId="{0E406812-6756-4C1E-AEF8-B5D60FCBBC19}" srcOrd="5" destOrd="0" parTransId="{904A1081-421E-4DA4-8F3D-0A73FDE2461F}" sibTransId="{C54D78A6-7BE3-4614-A7F3-17FFC4EA5D5A}"/>
    <dgm:cxn modelId="{2B314E37-563E-416A-8760-59225ECC7129}" type="presOf" srcId="{8AE31CBC-C1F7-46E8-B8C9-2D3AC150098B}" destId="{E34E11FE-6288-494C-B668-BB2DB5D86B81}" srcOrd="0" destOrd="0" presId="urn:microsoft.com/office/officeart/2005/8/layout/hProcess9"/>
    <dgm:cxn modelId="{6C3FB667-06D0-418F-831B-7C856C5D1F55}" type="presOf" srcId="{35FBB4FD-542D-45A6-88C8-EDFADC204D22}" destId="{B8271DA2-2862-4536-9293-424FF3048ABD}" srcOrd="0" destOrd="0" presId="urn:microsoft.com/office/officeart/2005/8/layout/hProcess9"/>
    <dgm:cxn modelId="{DB24966E-8BA7-45CA-A3F9-2CC6A3546F44}" type="presOf" srcId="{1AA37FC5-9BE8-465C-AA02-C70ABABB359E}" destId="{F809F2EF-0D0E-472B-8E65-8A1DD3EDF20A}" srcOrd="0" destOrd="0" presId="urn:microsoft.com/office/officeart/2005/8/layout/hProcess9"/>
    <dgm:cxn modelId="{CC4EF250-21BE-4F19-8A62-5E5ED77D8E1E}" type="presOf" srcId="{809E5567-663A-4D17-B56D-AFC13FE2D709}" destId="{1DD59E78-EF0E-4C33-A196-FAB5F6F62A3A}" srcOrd="0" destOrd="0" presId="urn:microsoft.com/office/officeart/2005/8/layout/hProcess9"/>
    <dgm:cxn modelId="{DFD45F56-9BBC-409F-A9DE-B54DB8C22307}" srcId="{809E5567-663A-4D17-B56D-AFC13FE2D709}" destId="{CFAD4497-F452-4D95-9461-C22650631117}" srcOrd="2" destOrd="0" parTransId="{44F0A474-9F3C-42AC-9513-CC2B893AA212}" sibTransId="{5B54AAE8-608F-49BA-A3C6-17DFBCF42B0B}"/>
    <dgm:cxn modelId="{A417C89E-C350-416E-86F5-BA463E7D3825}" type="presOf" srcId="{F5D12123-7259-4828-A112-45FB30483ACA}" destId="{027F1594-1F56-4740-9EB9-AAA3AFD0E9A3}" srcOrd="0" destOrd="0" presId="urn:microsoft.com/office/officeart/2005/8/layout/hProcess9"/>
    <dgm:cxn modelId="{2EBCAAA8-A7B9-4803-9481-4C58004A51BD}" type="presOf" srcId="{CFAD4497-F452-4D95-9461-C22650631117}" destId="{C02CFAB3-57FB-472B-B36F-978BE40960EB}" srcOrd="0" destOrd="0" presId="urn:microsoft.com/office/officeart/2005/8/layout/hProcess9"/>
    <dgm:cxn modelId="{7FFEE3AB-23FC-4046-ADBC-5B45738DBEEE}" srcId="{809E5567-663A-4D17-B56D-AFC13FE2D709}" destId="{1AA37FC5-9BE8-465C-AA02-C70ABABB359E}" srcOrd="1" destOrd="0" parTransId="{9F7A2792-1923-47D2-8432-E8F7BE434EA6}" sibTransId="{B09D1E27-198D-4C76-A8AA-D08CD641ABEE}"/>
    <dgm:cxn modelId="{E3074FAD-400E-4F5F-B5F8-A8FC7F198ABE}" srcId="{809E5567-663A-4D17-B56D-AFC13FE2D709}" destId="{F5D12123-7259-4828-A112-45FB30483ACA}" srcOrd="4" destOrd="0" parTransId="{972B3CE1-55BD-41B5-8F55-2566CA5E1995}" sibTransId="{93940ABA-B300-49B8-98A0-AC95FA61E949}"/>
    <dgm:cxn modelId="{C8B92ADC-4C3E-4948-9FFF-C44C6C50182C}" srcId="{809E5567-663A-4D17-B56D-AFC13FE2D709}" destId="{8AE31CBC-C1F7-46E8-B8C9-2D3AC150098B}" srcOrd="3" destOrd="0" parTransId="{9A5A029F-F44D-4F79-9CDC-1C555B73B360}" sibTransId="{1FCF7992-0135-418D-8BCC-654076D7C48E}"/>
    <dgm:cxn modelId="{F5564BDE-EC21-4067-9066-6B833BB0EA43}" srcId="{809E5567-663A-4D17-B56D-AFC13FE2D709}" destId="{35FBB4FD-542D-45A6-88C8-EDFADC204D22}" srcOrd="0" destOrd="0" parTransId="{5ADCF467-8B6D-44AF-B29B-C9DB18799556}" sibTransId="{66412404-AAAD-4C0E-9DEC-B217CAEB886A}"/>
    <dgm:cxn modelId="{961CC8A1-D7D4-4FE6-97D6-8F05589B767A}" type="presParOf" srcId="{1DD59E78-EF0E-4C33-A196-FAB5F6F62A3A}" destId="{4085268E-4F31-4EDB-9FAF-8EB3FB0BFC00}" srcOrd="0" destOrd="0" presId="urn:microsoft.com/office/officeart/2005/8/layout/hProcess9"/>
    <dgm:cxn modelId="{D2302A3F-4450-4C12-A4F0-FBE013F05ED6}" type="presParOf" srcId="{1DD59E78-EF0E-4C33-A196-FAB5F6F62A3A}" destId="{372B6A38-FA0C-49D2-B782-592486390A5E}" srcOrd="1" destOrd="0" presId="urn:microsoft.com/office/officeart/2005/8/layout/hProcess9"/>
    <dgm:cxn modelId="{A320289F-0CA7-4C41-AE3D-19689C992AB9}" type="presParOf" srcId="{372B6A38-FA0C-49D2-B782-592486390A5E}" destId="{B8271DA2-2862-4536-9293-424FF3048ABD}" srcOrd="0" destOrd="0" presId="urn:microsoft.com/office/officeart/2005/8/layout/hProcess9"/>
    <dgm:cxn modelId="{C3C20026-0D09-42D8-9E9E-2740C44A9557}" type="presParOf" srcId="{372B6A38-FA0C-49D2-B782-592486390A5E}" destId="{E59BBF62-7092-4A5D-941E-89968CAB3CF6}" srcOrd="1" destOrd="0" presId="urn:microsoft.com/office/officeart/2005/8/layout/hProcess9"/>
    <dgm:cxn modelId="{8502F197-41CF-4B8E-A4E9-0D4F306D4849}" type="presParOf" srcId="{372B6A38-FA0C-49D2-B782-592486390A5E}" destId="{F809F2EF-0D0E-472B-8E65-8A1DD3EDF20A}" srcOrd="2" destOrd="0" presId="urn:microsoft.com/office/officeart/2005/8/layout/hProcess9"/>
    <dgm:cxn modelId="{65B981E9-1E8B-4F19-8D43-F460001CB004}" type="presParOf" srcId="{372B6A38-FA0C-49D2-B782-592486390A5E}" destId="{5AF37B9C-8499-4D73-8968-0CE8FE39EAE9}" srcOrd="3" destOrd="0" presId="urn:microsoft.com/office/officeart/2005/8/layout/hProcess9"/>
    <dgm:cxn modelId="{C2B28FD0-2D47-477D-A7C9-911BECFDF10D}" type="presParOf" srcId="{372B6A38-FA0C-49D2-B782-592486390A5E}" destId="{C02CFAB3-57FB-472B-B36F-978BE40960EB}" srcOrd="4" destOrd="0" presId="urn:microsoft.com/office/officeart/2005/8/layout/hProcess9"/>
    <dgm:cxn modelId="{C6E61B51-28C3-419A-82E7-EB6C85FE7D05}" type="presParOf" srcId="{372B6A38-FA0C-49D2-B782-592486390A5E}" destId="{4E90E416-A3F5-4902-B81C-8F6193D8E4D4}" srcOrd="5" destOrd="0" presId="urn:microsoft.com/office/officeart/2005/8/layout/hProcess9"/>
    <dgm:cxn modelId="{B91CDC02-C572-4FFB-AC2A-44DD4DABC56C}" type="presParOf" srcId="{372B6A38-FA0C-49D2-B782-592486390A5E}" destId="{E34E11FE-6288-494C-B668-BB2DB5D86B81}" srcOrd="6" destOrd="0" presId="urn:microsoft.com/office/officeart/2005/8/layout/hProcess9"/>
    <dgm:cxn modelId="{CF146FCD-03B9-45D7-A360-878222183914}" type="presParOf" srcId="{372B6A38-FA0C-49D2-B782-592486390A5E}" destId="{F7C9B3B1-C5C9-4BEE-B4DC-C77E9E191D5F}" srcOrd="7" destOrd="0" presId="urn:microsoft.com/office/officeart/2005/8/layout/hProcess9"/>
    <dgm:cxn modelId="{B7EF091F-A057-4399-A284-BC2F2C73F203}" type="presParOf" srcId="{372B6A38-FA0C-49D2-B782-592486390A5E}" destId="{027F1594-1F56-4740-9EB9-AAA3AFD0E9A3}" srcOrd="8" destOrd="0" presId="urn:microsoft.com/office/officeart/2005/8/layout/hProcess9"/>
    <dgm:cxn modelId="{7F5F8F1B-AF50-4AD1-9B7E-ED0520797434}" type="presParOf" srcId="{372B6A38-FA0C-49D2-B782-592486390A5E}" destId="{9FAAD10D-C018-4A80-838A-F7E241E8936E}" srcOrd="9" destOrd="0" presId="urn:microsoft.com/office/officeart/2005/8/layout/hProcess9"/>
    <dgm:cxn modelId="{90932816-F068-4203-8BB3-94614F0CE7C7}" type="presParOf" srcId="{372B6A38-FA0C-49D2-B782-592486390A5E}" destId="{C1D444D9-A9A9-4565-9CA6-F5011F24A23D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5268E-4F31-4EDB-9FAF-8EB3FB0BFC00}">
      <dsp:nvSpPr>
        <dsp:cNvPr id="0" name=""/>
        <dsp:cNvSpPr/>
      </dsp:nvSpPr>
      <dsp:spPr>
        <a:xfrm>
          <a:off x="1" y="0"/>
          <a:ext cx="7784753" cy="154340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271DA2-2862-4536-9293-424FF3048ABD}">
      <dsp:nvSpPr>
        <dsp:cNvPr id="0" name=""/>
        <dsp:cNvSpPr/>
      </dsp:nvSpPr>
      <dsp:spPr>
        <a:xfrm>
          <a:off x="263799" y="463022"/>
          <a:ext cx="233542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Ablaufdatum 31.12.2019 und früher</a:t>
          </a:r>
        </a:p>
      </dsp:txBody>
      <dsp:txXfrm>
        <a:off x="293936" y="493159"/>
        <a:ext cx="2275153" cy="557089"/>
      </dsp:txXfrm>
    </dsp:sp>
    <dsp:sp modelId="{F809F2EF-0D0E-472B-8E65-8A1DD3EDF20A}">
      <dsp:nvSpPr>
        <dsp:cNvPr id="0" name=""/>
        <dsp:cNvSpPr/>
      </dsp:nvSpPr>
      <dsp:spPr>
        <a:xfrm>
          <a:off x="2724664" y="463022"/>
          <a:ext cx="233542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 dirty="0"/>
            <a:t>keine Sonderregelung für die Verlängerung, die verpassten Stunden müssen nachgereicht werden</a:t>
          </a:r>
        </a:p>
      </dsp:txBody>
      <dsp:txXfrm>
        <a:off x="2754801" y="493159"/>
        <a:ext cx="2275153" cy="557089"/>
      </dsp:txXfrm>
    </dsp:sp>
    <dsp:sp modelId="{C02CFAB3-57FB-472B-B36F-978BE40960EB}">
      <dsp:nvSpPr>
        <dsp:cNvPr id="0" name=""/>
        <dsp:cNvSpPr/>
      </dsp:nvSpPr>
      <dsp:spPr>
        <a:xfrm>
          <a:off x="5185530" y="463022"/>
          <a:ext cx="233542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kern="1200"/>
            <a:t>Rückwirkende Verlängerung der Lizenz nach Einreichung der Stunden</a:t>
          </a:r>
        </a:p>
      </dsp:txBody>
      <dsp:txXfrm>
        <a:off x="5215667" y="493159"/>
        <a:ext cx="2275153" cy="5570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5268E-4F31-4EDB-9FAF-8EB3FB0BFC00}">
      <dsp:nvSpPr>
        <dsp:cNvPr id="0" name=""/>
        <dsp:cNvSpPr/>
      </dsp:nvSpPr>
      <dsp:spPr>
        <a:xfrm>
          <a:off x="1" y="0"/>
          <a:ext cx="7784753" cy="154340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271DA2-2862-4536-9293-424FF3048ABD}">
      <dsp:nvSpPr>
        <dsp:cNvPr id="0" name=""/>
        <dsp:cNvSpPr/>
      </dsp:nvSpPr>
      <dsp:spPr>
        <a:xfrm>
          <a:off x="3896" y="463022"/>
          <a:ext cx="187396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Ablaufdatum 31.12.2020</a:t>
          </a:r>
        </a:p>
      </dsp:txBody>
      <dsp:txXfrm>
        <a:off x="34033" y="493159"/>
        <a:ext cx="1813693" cy="557089"/>
      </dsp:txXfrm>
    </dsp:sp>
    <dsp:sp modelId="{F809F2EF-0D0E-472B-8E65-8A1DD3EDF20A}">
      <dsp:nvSpPr>
        <dsp:cNvPr id="0" name=""/>
        <dsp:cNvSpPr/>
      </dsp:nvSpPr>
      <dsp:spPr>
        <a:xfrm>
          <a:off x="1971561" y="463022"/>
          <a:ext cx="187396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20 Lerneinheiten sind bereits absolviert</a:t>
          </a:r>
        </a:p>
      </dsp:txBody>
      <dsp:txXfrm>
        <a:off x="2001698" y="493159"/>
        <a:ext cx="1813693" cy="557089"/>
      </dsp:txXfrm>
    </dsp:sp>
    <dsp:sp modelId="{C02CFAB3-57FB-472B-B36F-978BE40960EB}">
      <dsp:nvSpPr>
        <dsp:cNvPr id="0" name=""/>
        <dsp:cNvSpPr/>
      </dsp:nvSpPr>
      <dsp:spPr>
        <a:xfrm>
          <a:off x="3939227" y="463022"/>
          <a:ext cx="187396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Einreichung (Fortbildungsnachweis und auslaufende Karte) kann ab dem 30.06.2020 erfolgen </a:t>
          </a:r>
        </a:p>
      </dsp:txBody>
      <dsp:txXfrm>
        <a:off x="3969364" y="493159"/>
        <a:ext cx="1813693" cy="557089"/>
      </dsp:txXfrm>
    </dsp:sp>
    <dsp:sp modelId="{027F1594-1F56-4740-9EB9-AAA3AFD0E9A3}">
      <dsp:nvSpPr>
        <dsp:cNvPr id="0" name=""/>
        <dsp:cNvSpPr/>
      </dsp:nvSpPr>
      <dsp:spPr>
        <a:xfrm>
          <a:off x="5906893" y="463022"/>
          <a:ext cx="1873967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Verlängerung bis 31.12.2023</a:t>
          </a:r>
        </a:p>
      </dsp:txBody>
      <dsp:txXfrm>
        <a:off x="5937030" y="493159"/>
        <a:ext cx="1813693" cy="55708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5268E-4F31-4EDB-9FAF-8EB3FB0BFC00}">
      <dsp:nvSpPr>
        <dsp:cNvPr id="0" name=""/>
        <dsp:cNvSpPr/>
      </dsp:nvSpPr>
      <dsp:spPr>
        <a:xfrm>
          <a:off x="1" y="0"/>
          <a:ext cx="7784753" cy="154340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271DA2-2862-4536-9293-424FF3048ABD}">
      <dsp:nvSpPr>
        <dsp:cNvPr id="0" name=""/>
        <dsp:cNvSpPr/>
      </dsp:nvSpPr>
      <dsp:spPr>
        <a:xfrm>
          <a:off x="2138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Ablaufdatum 31.12.2020</a:t>
          </a:r>
        </a:p>
      </dsp:txBody>
      <dsp:txXfrm>
        <a:off x="32275" y="493159"/>
        <a:ext cx="1184602" cy="557089"/>
      </dsp:txXfrm>
    </dsp:sp>
    <dsp:sp modelId="{F809F2EF-0D0E-472B-8E65-8A1DD3EDF20A}">
      <dsp:nvSpPr>
        <dsp:cNvPr id="0" name=""/>
        <dsp:cNvSpPr/>
      </dsp:nvSpPr>
      <dsp:spPr>
        <a:xfrm>
          <a:off x="1309258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20 Lerneinheiten sind noch nicht absolviert</a:t>
          </a:r>
        </a:p>
      </dsp:txBody>
      <dsp:txXfrm>
        <a:off x="1339395" y="493159"/>
        <a:ext cx="1184602" cy="557089"/>
      </dsp:txXfrm>
    </dsp:sp>
    <dsp:sp modelId="{C02CFAB3-57FB-472B-B36F-978BE40960EB}">
      <dsp:nvSpPr>
        <dsp:cNvPr id="0" name=""/>
        <dsp:cNvSpPr/>
      </dsp:nvSpPr>
      <dsp:spPr>
        <a:xfrm>
          <a:off x="2616379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Fristverlängerung für die Absolvierung der Einheiten bis 31.12.2021</a:t>
          </a:r>
        </a:p>
      </dsp:txBody>
      <dsp:txXfrm>
        <a:off x="2646516" y="493159"/>
        <a:ext cx="1184602" cy="557089"/>
      </dsp:txXfrm>
    </dsp:sp>
    <dsp:sp modelId="{E34E11FE-6288-494C-B668-BB2DB5D86B81}">
      <dsp:nvSpPr>
        <dsp:cNvPr id="0" name=""/>
        <dsp:cNvSpPr/>
      </dsp:nvSpPr>
      <dsp:spPr>
        <a:xfrm>
          <a:off x="3923500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 Mit dem beigefügten  Formular wird die Lizenzgültigkeit bis 31.12.2021 bestätigt</a:t>
          </a:r>
        </a:p>
      </dsp:txBody>
      <dsp:txXfrm>
        <a:off x="3953637" y="493159"/>
        <a:ext cx="1184602" cy="557089"/>
      </dsp:txXfrm>
    </dsp:sp>
    <dsp:sp modelId="{027F1594-1F56-4740-9EB9-AAA3AFD0E9A3}">
      <dsp:nvSpPr>
        <dsp:cNvPr id="0" name=""/>
        <dsp:cNvSpPr/>
      </dsp:nvSpPr>
      <dsp:spPr>
        <a:xfrm>
          <a:off x="5230621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Nach Absolvierung der Stunden können diese zur Verlängerung </a:t>
          </a:r>
          <a:r>
            <a:rPr lang="de-DE" sz="800" kern="1200"/>
            <a:t>eingereicht werden</a:t>
          </a:r>
          <a:endParaRPr lang="de-DE" sz="800" kern="1200" dirty="0"/>
        </a:p>
      </dsp:txBody>
      <dsp:txXfrm>
        <a:off x="5260758" y="493159"/>
        <a:ext cx="1184602" cy="557089"/>
      </dsp:txXfrm>
    </dsp:sp>
    <dsp:sp modelId="{C1D444D9-A9A9-4565-9CA6-F5011F24A23D}">
      <dsp:nvSpPr>
        <dsp:cNvPr id="0" name=""/>
        <dsp:cNvSpPr/>
      </dsp:nvSpPr>
      <dsp:spPr>
        <a:xfrm>
          <a:off x="6537741" y="463022"/>
          <a:ext cx="1244876" cy="61736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/>
            <a:t>Verlängerung bis 31.12.2023</a:t>
          </a:r>
        </a:p>
      </dsp:txBody>
      <dsp:txXfrm>
        <a:off x="6567878" y="493159"/>
        <a:ext cx="1184602" cy="5570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333590" y="9576951"/>
            <a:ext cx="709886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900">
                <a:latin typeface="+mj-lt"/>
              </a:defRPr>
            </a:lvl1pPr>
          </a:lstStyle>
          <a:p>
            <a:fld id="{56B1D6A0-B199-4BE9-8871-68D3671DF234}" type="datetimeFigureOut">
              <a:rPr lang="de-DE" smtClean="0"/>
              <a:pPr/>
              <a:t>07.04.2020</a:t>
            </a:fld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754199" y="9588829"/>
            <a:ext cx="71374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3695953A-7051-472F-A115-FF03055D9F3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00190" y="234000"/>
            <a:ext cx="571087" cy="62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13932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0" userDrawn="1">
          <p15:clr>
            <a:srgbClr val="F26B43"/>
          </p15:clr>
        </p15:guide>
        <p15:guide id="3" pos="407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33590" y="9576951"/>
            <a:ext cx="709886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900">
                <a:latin typeface="+mj-lt"/>
              </a:defRPr>
            </a:lvl1pPr>
          </a:lstStyle>
          <a:p>
            <a:fld id="{56B1D6A0-B199-4BE9-8871-68D3671DF234}" type="datetimeFigureOut">
              <a:rPr lang="de-DE" smtClean="0"/>
              <a:pPr/>
              <a:t>07.04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" y="1027113"/>
            <a:ext cx="6718300" cy="37798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33589" y="5129785"/>
            <a:ext cx="6134356" cy="4212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54199" y="9588829"/>
            <a:ext cx="713746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3695953A-7051-472F-A115-FF03055D9F3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00190" y="234000"/>
            <a:ext cx="571087" cy="62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175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200" b="1" kern="1200">
        <a:solidFill>
          <a:schemeClr val="accent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Bef>
        <a:spcPts val="600"/>
      </a:spcBef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180000" indent="-180000" algn="l" defTabSz="914400" rtl="0" eaLnBrk="1" latinLnBrk="0" hangingPunct="1">
      <a:spcBef>
        <a:spcPts val="300"/>
      </a:spcBef>
      <a:buClr>
        <a:schemeClr val="accent2"/>
      </a:buClr>
      <a:buFont typeface="DFB Sans Ofc" panose="020B0503030500020204"/>
      <a:buChar char="›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360000" indent="-180000" algn="l" defTabSz="914400" rtl="0" eaLnBrk="1" latinLnBrk="0" hangingPunct="1">
      <a:spcBef>
        <a:spcPts val="300"/>
      </a:spcBef>
      <a:buClr>
        <a:schemeClr val="accent2"/>
      </a:buClr>
      <a:buFont typeface="DFB Sans Ofc" panose="020B0503030500020204"/>
      <a:buChar char="›"/>
      <a:defRPr sz="1200" kern="1200">
        <a:solidFill>
          <a:schemeClr val="tx1"/>
        </a:solidFill>
        <a:latin typeface="+mj-lt"/>
        <a:ea typeface="+mn-ea"/>
        <a:cs typeface="+mn-cs"/>
      </a:defRPr>
    </a:lvl4pPr>
    <a:lvl5pPr marL="270000" indent="-270000" algn="l" defTabSz="914400" rtl="0" eaLnBrk="1" latinLnBrk="0" hangingPunct="1">
      <a:spcBef>
        <a:spcPts val="600"/>
      </a:spcBef>
      <a:buClr>
        <a:schemeClr val="accent2"/>
      </a:buClr>
      <a:buFont typeface="Arial" panose="020B0604020202020204" pitchFamily="34" charset="0"/>
      <a:buChar char="→"/>
      <a:defRPr sz="12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3" pos="2121" userDrawn="1">
          <p15:clr>
            <a:srgbClr val="F26B43"/>
          </p15:clr>
        </p15:guide>
        <p15:guide id="4" pos="210" userDrawn="1">
          <p15:clr>
            <a:srgbClr val="F26B43"/>
          </p15:clr>
        </p15:guide>
        <p15:guide id="5" pos="4077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578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3756944"/>
            <a:ext cx="11301057" cy="1025922"/>
          </a:xfrm>
        </p:spPr>
        <p:txBody>
          <a:bodyPr anchor="b" anchorCtr="0"/>
          <a:lstStyle>
            <a:lvl1pPr>
              <a:lnSpc>
                <a:spcPts val="4000"/>
              </a:lnSpc>
              <a:defRPr sz="3699" baseline="0"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981934"/>
            <a:ext cx="11301057" cy="25648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444843" y="5428557"/>
            <a:ext cx="11301057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grpSp>
        <p:nvGrpSpPr>
          <p:cNvPr id="18" name="Gruppieren 17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0" name="Freihandform: Form 19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1" name="Freihandform: Form 20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" name="Gruppieren 23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6" name="Freihandform: Form 25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8" name="Freihandform: Form 27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0" name="Gruppieren 29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1" name="Freihandform: Form 30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2" name="Freihandform: Form 31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3" name="Gruppieren 32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4" name="Freihandform: Form 33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5" name="Freihandform: Form 34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5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444843" y="5613429"/>
            <a:ext cx="11301057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50" name="Freeform 49"/>
          <p:cNvSpPr/>
          <p:nvPr userDrawn="1"/>
        </p:nvSpPr>
        <p:spPr>
          <a:xfrm>
            <a:off x="2151350" y="-1"/>
            <a:ext cx="7889301" cy="3261266"/>
          </a:xfrm>
          <a:custGeom>
            <a:avLst/>
            <a:gdLst>
              <a:gd name="connsiteX0" fmla="*/ 2713298 w 7889301"/>
              <a:gd name="connsiteY0" fmla="*/ 2554420 h 3261266"/>
              <a:gd name="connsiteX1" fmla="*/ 2730069 w 7889301"/>
              <a:gd name="connsiteY1" fmla="*/ 2573141 h 3261266"/>
              <a:gd name="connsiteX2" fmla="*/ 3962114 w 7889301"/>
              <a:gd name="connsiteY2" fmla="*/ 3090864 h 3261266"/>
              <a:gd name="connsiteX3" fmla="*/ 5194159 w 7889301"/>
              <a:gd name="connsiteY3" fmla="*/ 2573141 h 3261266"/>
              <a:gd name="connsiteX4" fmla="*/ 5210931 w 7889301"/>
              <a:gd name="connsiteY4" fmla="*/ 2554420 h 3261266"/>
              <a:gd name="connsiteX5" fmla="*/ 5648900 w 7889301"/>
              <a:gd name="connsiteY5" fmla="*/ 1 h 3261266"/>
              <a:gd name="connsiteX6" fmla="*/ 5818100 w 7889301"/>
              <a:gd name="connsiteY6" fmla="*/ 1 h 3261266"/>
              <a:gd name="connsiteX7" fmla="*/ 5818100 w 7889301"/>
              <a:gd name="connsiteY7" fmla="*/ 357596 h 3261266"/>
              <a:gd name="connsiteX8" fmla="*/ 5779587 w 7889301"/>
              <a:gd name="connsiteY8" fmla="*/ 357596 h 3261266"/>
              <a:gd name="connsiteX9" fmla="*/ 5779587 w 7889301"/>
              <a:gd name="connsiteY9" fmla="*/ 357596 h 3261266"/>
              <a:gd name="connsiteX10" fmla="*/ 2073941 w 7889301"/>
              <a:gd name="connsiteY10" fmla="*/ 357596 h 3261266"/>
              <a:gd name="connsiteX11" fmla="*/ 2073941 w 7889301"/>
              <a:gd name="connsiteY11" fmla="*/ 357596 h 3261266"/>
              <a:gd name="connsiteX12" fmla="*/ 2070098 w 7889301"/>
              <a:gd name="connsiteY12" fmla="*/ 357596 h 3261266"/>
              <a:gd name="connsiteX13" fmla="*/ 2070098 w 7889301"/>
              <a:gd name="connsiteY13" fmla="*/ 1 h 3261266"/>
              <a:gd name="connsiteX14" fmla="*/ 2239298 w 7889301"/>
              <a:gd name="connsiteY14" fmla="*/ 1 h 3261266"/>
              <a:gd name="connsiteX15" fmla="*/ 2239298 w 7889301"/>
              <a:gd name="connsiteY15" fmla="*/ 188396 h 3261266"/>
              <a:gd name="connsiteX16" fmla="*/ 5648900 w 7889301"/>
              <a:gd name="connsiteY16" fmla="*/ 188396 h 3261266"/>
              <a:gd name="connsiteX17" fmla="*/ 7720101 w 7889301"/>
              <a:gd name="connsiteY17" fmla="*/ 0 h 3261266"/>
              <a:gd name="connsiteX18" fmla="*/ 7889301 w 7889301"/>
              <a:gd name="connsiteY18" fmla="*/ 0 h 3261266"/>
              <a:gd name="connsiteX19" fmla="*/ 7889301 w 7889301"/>
              <a:gd name="connsiteY19" fmla="*/ 2554419 h 3261266"/>
              <a:gd name="connsiteX20" fmla="*/ 7807450 w 7889301"/>
              <a:gd name="connsiteY20" fmla="*/ 2554419 h 3261266"/>
              <a:gd name="connsiteX21" fmla="*/ 7807450 w 7889301"/>
              <a:gd name="connsiteY21" fmla="*/ 2554420 h 3261266"/>
              <a:gd name="connsiteX22" fmla="*/ 5437398 w 7889301"/>
              <a:gd name="connsiteY22" fmla="*/ 2554420 h 3261266"/>
              <a:gd name="connsiteX23" fmla="*/ 5436228 w 7889301"/>
              <a:gd name="connsiteY23" fmla="*/ 2556007 h 3261266"/>
              <a:gd name="connsiteX24" fmla="*/ 3962114 w 7889301"/>
              <a:gd name="connsiteY24" fmla="*/ 3261266 h 3261266"/>
              <a:gd name="connsiteX25" fmla="*/ 2488001 w 7889301"/>
              <a:gd name="connsiteY25" fmla="*/ 2556007 h 3261266"/>
              <a:gd name="connsiteX26" fmla="*/ 2486832 w 7889301"/>
              <a:gd name="connsiteY26" fmla="*/ 2554420 h 3261266"/>
              <a:gd name="connsiteX27" fmla="*/ 46078 w 7889301"/>
              <a:gd name="connsiteY27" fmla="*/ 2554420 h 3261266"/>
              <a:gd name="connsiteX28" fmla="*/ 46078 w 7889301"/>
              <a:gd name="connsiteY28" fmla="*/ 2554419 h 3261266"/>
              <a:gd name="connsiteX29" fmla="*/ 0 w 7889301"/>
              <a:gd name="connsiteY29" fmla="*/ 2554419 h 3261266"/>
              <a:gd name="connsiteX30" fmla="*/ 0 w 7889301"/>
              <a:gd name="connsiteY30" fmla="*/ 0 h 3261266"/>
              <a:gd name="connsiteX31" fmla="*/ 169200 w 7889301"/>
              <a:gd name="connsiteY31" fmla="*/ 0 h 3261266"/>
              <a:gd name="connsiteX32" fmla="*/ 169200 w 7889301"/>
              <a:gd name="connsiteY32" fmla="*/ 2385220 h 3261266"/>
              <a:gd name="connsiteX33" fmla="*/ 7720101 w 7889301"/>
              <a:gd name="connsiteY33" fmla="*/ 2385220 h 326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889301" h="3261266">
                <a:moveTo>
                  <a:pt x="2713298" y="2554420"/>
                </a:moveTo>
                <a:lnTo>
                  <a:pt x="2730069" y="2573141"/>
                </a:lnTo>
                <a:cubicBezTo>
                  <a:pt x="3045377" y="2893017"/>
                  <a:pt x="3480971" y="3090864"/>
                  <a:pt x="3962114" y="3090864"/>
                </a:cubicBezTo>
                <a:cubicBezTo>
                  <a:pt x="4443258" y="3090864"/>
                  <a:pt x="4878852" y="2893017"/>
                  <a:pt x="5194159" y="2573141"/>
                </a:cubicBezTo>
                <a:lnTo>
                  <a:pt x="5210931" y="2554420"/>
                </a:lnTo>
                <a:close/>
                <a:moveTo>
                  <a:pt x="5648900" y="1"/>
                </a:moveTo>
                <a:lnTo>
                  <a:pt x="5818100" y="1"/>
                </a:lnTo>
                <a:lnTo>
                  <a:pt x="5818100" y="357596"/>
                </a:lnTo>
                <a:lnTo>
                  <a:pt x="5779587" y="357596"/>
                </a:lnTo>
                <a:lnTo>
                  <a:pt x="5779587" y="357596"/>
                </a:lnTo>
                <a:lnTo>
                  <a:pt x="2073941" y="357596"/>
                </a:lnTo>
                <a:lnTo>
                  <a:pt x="2073941" y="357596"/>
                </a:lnTo>
                <a:lnTo>
                  <a:pt x="2070098" y="357596"/>
                </a:lnTo>
                <a:lnTo>
                  <a:pt x="2070098" y="1"/>
                </a:lnTo>
                <a:lnTo>
                  <a:pt x="2239298" y="1"/>
                </a:lnTo>
                <a:lnTo>
                  <a:pt x="2239298" y="188396"/>
                </a:lnTo>
                <a:lnTo>
                  <a:pt x="5648900" y="188396"/>
                </a:lnTo>
                <a:close/>
                <a:moveTo>
                  <a:pt x="7720101" y="0"/>
                </a:moveTo>
                <a:lnTo>
                  <a:pt x="7889301" y="0"/>
                </a:lnTo>
                <a:lnTo>
                  <a:pt x="7889301" y="2554419"/>
                </a:lnTo>
                <a:lnTo>
                  <a:pt x="7807450" y="2554419"/>
                </a:lnTo>
                <a:lnTo>
                  <a:pt x="7807450" y="2554420"/>
                </a:lnTo>
                <a:lnTo>
                  <a:pt x="5437398" y="2554420"/>
                </a:lnTo>
                <a:lnTo>
                  <a:pt x="5436228" y="2556007"/>
                </a:lnTo>
                <a:cubicBezTo>
                  <a:pt x="5085843" y="2986726"/>
                  <a:pt x="4555582" y="3261266"/>
                  <a:pt x="3962114" y="3261266"/>
                </a:cubicBezTo>
                <a:cubicBezTo>
                  <a:pt x="3368647" y="3261266"/>
                  <a:pt x="2838386" y="2986726"/>
                  <a:pt x="2488001" y="2556007"/>
                </a:cubicBezTo>
                <a:lnTo>
                  <a:pt x="2486832" y="2554420"/>
                </a:lnTo>
                <a:lnTo>
                  <a:pt x="46078" y="2554420"/>
                </a:lnTo>
                <a:lnTo>
                  <a:pt x="46078" y="2554419"/>
                </a:lnTo>
                <a:lnTo>
                  <a:pt x="0" y="2554419"/>
                </a:lnTo>
                <a:lnTo>
                  <a:pt x="0" y="0"/>
                </a:lnTo>
                <a:lnTo>
                  <a:pt x="169200" y="0"/>
                </a:lnTo>
                <a:lnTo>
                  <a:pt x="169200" y="2385220"/>
                </a:lnTo>
                <a:lnTo>
                  <a:pt x="7720101" y="2385220"/>
                </a:lnTo>
                <a:close/>
              </a:path>
            </a:pathLst>
          </a:cu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lvl="0" indent="-180000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pic>
        <p:nvPicPr>
          <p:cNvPr id="36" name="Grafik 3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571" y="556530"/>
            <a:ext cx="1166859" cy="118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297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4B54E8-F9D6-4B2A-A0C5-E01D4176BB63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446284" y="1665288"/>
            <a:ext cx="11301057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4170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9DDDE2-0A25-48DE-A3F2-37964B61F751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6"/>
          </p:nvPr>
        </p:nvSpPr>
        <p:spPr bwMode="gray">
          <a:xfrm>
            <a:off x="446284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242805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94401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171974-4E80-4652-BD21-C9AF83782833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44842" y="1616607"/>
            <a:ext cx="5506566" cy="1641475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6242805" y="1665288"/>
            <a:ext cx="5506566" cy="4500562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6019288"/>
            <a:ext cx="5506566" cy="192360"/>
          </a:xfrm>
        </p:spPr>
        <p:txBody>
          <a:bodyPr anchor="b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128228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73E48CD-0C17-4186-8D35-C5AEF08AD373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444843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9"/>
          </p:nvPr>
        </p:nvSpPr>
        <p:spPr bwMode="gray">
          <a:xfrm>
            <a:off x="3348426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20"/>
          </p:nvPr>
        </p:nvSpPr>
        <p:spPr bwMode="gray">
          <a:xfrm>
            <a:off x="6252009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1"/>
          </p:nvPr>
        </p:nvSpPr>
        <p:spPr bwMode="gray">
          <a:xfrm>
            <a:off x="9155593" y="1665288"/>
            <a:ext cx="2591563" cy="1908000"/>
          </a:xfrm>
          <a:noFill/>
        </p:spPr>
        <p:txBody>
          <a:bodyPr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/>
          </p:nvPr>
        </p:nvSpPr>
        <p:spPr bwMode="gray">
          <a:xfrm>
            <a:off x="3348426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3"/>
          </p:nvPr>
        </p:nvSpPr>
        <p:spPr bwMode="gray">
          <a:xfrm>
            <a:off x="6252009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/>
          </p:nvPr>
        </p:nvSpPr>
        <p:spPr bwMode="gray">
          <a:xfrm>
            <a:off x="9155593" y="3746216"/>
            <a:ext cx="2591325" cy="384721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06259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388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D72CD49-7F43-47BB-982C-403E393FBCB0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196938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5AD2FA3-BFB8-49D6-B1A8-30B06315D90A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446284" y="1616607"/>
            <a:ext cx="11299616" cy="24622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4pPr>
              <a:defRPr/>
            </a:lvl4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4"/>
          </p:nvPr>
        </p:nvSpPr>
        <p:spPr bwMode="gray">
          <a:xfrm>
            <a:off x="444843" y="1955217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44843" y="2306140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444843" y="2560142"/>
            <a:ext cx="11301057" cy="24622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7"/>
          </p:nvPr>
        </p:nvSpPr>
        <p:spPr bwMode="gray">
          <a:xfrm>
            <a:off x="444843" y="2915134"/>
            <a:ext cx="11301057" cy="246221"/>
          </a:xfrm>
        </p:spPr>
        <p:txBody>
          <a:bodyPr/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3169133"/>
            <a:ext cx="11301057" cy="246221"/>
          </a:xfrm>
        </p:spPr>
        <p:txBody>
          <a:bodyPr/>
          <a:lstStyle>
            <a:lvl1pPr marL="360363" indent="-360363">
              <a:lnSpc>
                <a:spcPct val="100000"/>
              </a:lnSpc>
              <a:spcBef>
                <a:spcPts val="0"/>
              </a:spcBef>
              <a:buFont typeface="+mj-lt"/>
              <a:buNone/>
              <a:defRPr sz="1600" b="0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117985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ß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3756944"/>
            <a:ext cx="11301057" cy="1025922"/>
          </a:xfrm>
        </p:spPr>
        <p:txBody>
          <a:bodyPr anchor="b" anchorCtr="0"/>
          <a:lstStyle>
            <a:lvl1pPr>
              <a:lnSpc>
                <a:spcPts val="4000"/>
              </a:lnSpc>
              <a:defRPr sz="3699" baseline="0"/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981934"/>
            <a:ext cx="11301057" cy="256480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grpSp>
        <p:nvGrpSpPr>
          <p:cNvPr id="18" name="Gruppieren 17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0" name="Freihandform: Form 19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1" name="Freihandform: Form 20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" name="Gruppieren 23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6" name="Freihandform: Form 25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8" name="Freihandform: Form 27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0" name="Gruppieren 29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1" name="Freihandform: Form 30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2" name="Freihandform: Form 31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3" name="Gruppieren 32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4" name="Freihandform: Form 33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5" name="Freihandform: Form 34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36" name="Freeform 35"/>
          <p:cNvSpPr/>
          <p:nvPr userDrawn="1"/>
        </p:nvSpPr>
        <p:spPr>
          <a:xfrm>
            <a:off x="2151350" y="-1"/>
            <a:ext cx="7889301" cy="3261266"/>
          </a:xfrm>
          <a:custGeom>
            <a:avLst/>
            <a:gdLst>
              <a:gd name="connsiteX0" fmla="*/ 2713298 w 7889301"/>
              <a:gd name="connsiteY0" fmla="*/ 2554420 h 3261266"/>
              <a:gd name="connsiteX1" fmla="*/ 2730069 w 7889301"/>
              <a:gd name="connsiteY1" fmla="*/ 2573141 h 3261266"/>
              <a:gd name="connsiteX2" fmla="*/ 3962114 w 7889301"/>
              <a:gd name="connsiteY2" fmla="*/ 3090864 h 3261266"/>
              <a:gd name="connsiteX3" fmla="*/ 5194159 w 7889301"/>
              <a:gd name="connsiteY3" fmla="*/ 2573141 h 3261266"/>
              <a:gd name="connsiteX4" fmla="*/ 5210931 w 7889301"/>
              <a:gd name="connsiteY4" fmla="*/ 2554420 h 3261266"/>
              <a:gd name="connsiteX5" fmla="*/ 5648900 w 7889301"/>
              <a:gd name="connsiteY5" fmla="*/ 1 h 3261266"/>
              <a:gd name="connsiteX6" fmla="*/ 5818100 w 7889301"/>
              <a:gd name="connsiteY6" fmla="*/ 1 h 3261266"/>
              <a:gd name="connsiteX7" fmla="*/ 5818100 w 7889301"/>
              <a:gd name="connsiteY7" fmla="*/ 357596 h 3261266"/>
              <a:gd name="connsiteX8" fmla="*/ 5779587 w 7889301"/>
              <a:gd name="connsiteY8" fmla="*/ 357596 h 3261266"/>
              <a:gd name="connsiteX9" fmla="*/ 5779587 w 7889301"/>
              <a:gd name="connsiteY9" fmla="*/ 357596 h 3261266"/>
              <a:gd name="connsiteX10" fmla="*/ 2073941 w 7889301"/>
              <a:gd name="connsiteY10" fmla="*/ 357596 h 3261266"/>
              <a:gd name="connsiteX11" fmla="*/ 2073941 w 7889301"/>
              <a:gd name="connsiteY11" fmla="*/ 357596 h 3261266"/>
              <a:gd name="connsiteX12" fmla="*/ 2070098 w 7889301"/>
              <a:gd name="connsiteY12" fmla="*/ 357596 h 3261266"/>
              <a:gd name="connsiteX13" fmla="*/ 2070098 w 7889301"/>
              <a:gd name="connsiteY13" fmla="*/ 1 h 3261266"/>
              <a:gd name="connsiteX14" fmla="*/ 2239298 w 7889301"/>
              <a:gd name="connsiteY14" fmla="*/ 1 h 3261266"/>
              <a:gd name="connsiteX15" fmla="*/ 2239298 w 7889301"/>
              <a:gd name="connsiteY15" fmla="*/ 188396 h 3261266"/>
              <a:gd name="connsiteX16" fmla="*/ 5648900 w 7889301"/>
              <a:gd name="connsiteY16" fmla="*/ 188396 h 3261266"/>
              <a:gd name="connsiteX17" fmla="*/ 7720101 w 7889301"/>
              <a:gd name="connsiteY17" fmla="*/ 0 h 3261266"/>
              <a:gd name="connsiteX18" fmla="*/ 7889301 w 7889301"/>
              <a:gd name="connsiteY18" fmla="*/ 0 h 3261266"/>
              <a:gd name="connsiteX19" fmla="*/ 7889301 w 7889301"/>
              <a:gd name="connsiteY19" fmla="*/ 2554419 h 3261266"/>
              <a:gd name="connsiteX20" fmla="*/ 7807450 w 7889301"/>
              <a:gd name="connsiteY20" fmla="*/ 2554419 h 3261266"/>
              <a:gd name="connsiteX21" fmla="*/ 7807450 w 7889301"/>
              <a:gd name="connsiteY21" fmla="*/ 2554420 h 3261266"/>
              <a:gd name="connsiteX22" fmla="*/ 5437398 w 7889301"/>
              <a:gd name="connsiteY22" fmla="*/ 2554420 h 3261266"/>
              <a:gd name="connsiteX23" fmla="*/ 5436228 w 7889301"/>
              <a:gd name="connsiteY23" fmla="*/ 2556007 h 3261266"/>
              <a:gd name="connsiteX24" fmla="*/ 3962114 w 7889301"/>
              <a:gd name="connsiteY24" fmla="*/ 3261266 h 3261266"/>
              <a:gd name="connsiteX25" fmla="*/ 2488001 w 7889301"/>
              <a:gd name="connsiteY25" fmla="*/ 2556007 h 3261266"/>
              <a:gd name="connsiteX26" fmla="*/ 2486832 w 7889301"/>
              <a:gd name="connsiteY26" fmla="*/ 2554420 h 3261266"/>
              <a:gd name="connsiteX27" fmla="*/ 46078 w 7889301"/>
              <a:gd name="connsiteY27" fmla="*/ 2554420 h 3261266"/>
              <a:gd name="connsiteX28" fmla="*/ 46078 w 7889301"/>
              <a:gd name="connsiteY28" fmla="*/ 2554419 h 3261266"/>
              <a:gd name="connsiteX29" fmla="*/ 0 w 7889301"/>
              <a:gd name="connsiteY29" fmla="*/ 2554419 h 3261266"/>
              <a:gd name="connsiteX30" fmla="*/ 0 w 7889301"/>
              <a:gd name="connsiteY30" fmla="*/ 0 h 3261266"/>
              <a:gd name="connsiteX31" fmla="*/ 169200 w 7889301"/>
              <a:gd name="connsiteY31" fmla="*/ 0 h 3261266"/>
              <a:gd name="connsiteX32" fmla="*/ 169200 w 7889301"/>
              <a:gd name="connsiteY32" fmla="*/ 2385220 h 3261266"/>
              <a:gd name="connsiteX33" fmla="*/ 7720101 w 7889301"/>
              <a:gd name="connsiteY33" fmla="*/ 2385220 h 326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889301" h="3261266">
                <a:moveTo>
                  <a:pt x="2713298" y="2554420"/>
                </a:moveTo>
                <a:lnTo>
                  <a:pt x="2730069" y="2573141"/>
                </a:lnTo>
                <a:cubicBezTo>
                  <a:pt x="3045377" y="2893017"/>
                  <a:pt x="3480971" y="3090864"/>
                  <a:pt x="3962114" y="3090864"/>
                </a:cubicBezTo>
                <a:cubicBezTo>
                  <a:pt x="4443258" y="3090864"/>
                  <a:pt x="4878852" y="2893017"/>
                  <a:pt x="5194159" y="2573141"/>
                </a:cubicBezTo>
                <a:lnTo>
                  <a:pt x="5210931" y="2554420"/>
                </a:lnTo>
                <a:close/>
                <a:moveTo>
                  <a:pt x="5648900" y="1"/>
                </a:moveTo>
                <a:lnTo>
                  <a:pt x="5818100" y="1"/>
                </a:lnTo>
                <a:lnTo>
                  <a:pt x="5818100" y="357596"/>
                </a:lnTo>
                <a:lnTo>
                  <a:pt x="5779587" y="357596"/>
                </a:lnTo>
                <a:lnTo>
                  <a:pt x="5779587" y="357596"/>
                </a:lnTo>
                <a:lnTo>
                  <a:pt x="2073941" y="357596"/>
                </a:lnTo>
                <a:lnTo>
                  <a:pt x="2073941" y="357596"/>
                </a:lnTo>
                <a:lnTo>
                  <a:pt x="2070098" y="357596"/>
                </a:lnTo>
                <a:lnTo>
                  <a:pt x="2070098" y="1"/>
                </a:lnTo>
                <a:lnTo>
                  <a:pt x="2239298" y="1"/>
                </a:lnTo>
                <a:lnTo>
                  <a:pt x="2239298" y="188396"/>
                </a:lnTo>
                <a:lnTo>
                  <a:pt x="5648900" y="188396"/>
                </a:lnTo>
                <a:close/>
                <a:moveTo>
                  <a:pt x="7720101" y="0"/>
                </a:moveTo>
                <a:lnTo>
                  <a:pt x="7889301" y="0"/>
                </a:lnTo>
                <a:lnTo>
                  <a:pt x="7889301" y="2554419"/>
                </a:lnTo>
                <a:lnTo>
                  <a:pt x="7807450" y="2554419"/>
                </a:lnTo>
                <a:lnTo>
                  <a:pt x="7807450" y="2554420"/>
                </a:lnTo>
                <a:lnTo>
                  <a:pt x="5437398" y="2554420"/>
                </a:lnTo>
                <a:lnTo>
                  <a:pt x="5436228" y="2556007"/>
                </a:lnTo>
                <a:cubicBezTo>
                  <a:pt x="5085843" y="2986726"/>
                  <a:pt x="4555582" y="3261266"/>
                  <a:pt x="3962114" y="3261266"/>
                </a:cubicBezTo>
                <a:cubicBezTo>
                  <a:pt x="3368647" y="3261266"/>
                  <a:pt x="2838386" y="2986726"/>
                  <a:pt x="2488001" y="2556007"/>
                </a:cubicBezTo>
                <a:lnTo>
                  <a:pt x="2486832" y="2554420"/>
                </a:lnTo>
                <a:lnTo>
                  <a:pt x="46078" y="2554420"/>
                </a:lnTo>
                <a:lnTo>
                  <a:pt x="46078" y="2554419"/>
                </a:lnTo>
                <a:lnTo>
                  <a:pt x="0" y="2554419"/>
                </a:lnTo>
                <a:lnTo>
                  <a:pt x="0" y="0"/>
                </a:lnTo>
                <a:lnTo>
                  <a:pt x="169200" y="0"/>
                </a:lnTo>
                <a:lnTo>
                  <a:pt x="169200" y="2385220"/>
                </a:lnTo>
                <a:lnTo>
                  <a:pt x="7720101" y="2385220"/>
                </a:lnTo>
                <a:close/>
              </a:path>
            </a:pathLst>
          </a:cu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lvl="0" indent="-180000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571" y="556530"/>
            <a:ext cx="1166859" cy="118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817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187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hteck 59"/>
          <p:cNvSpPr/>
          <p:nvPr userDrawn="1"/>
        </p:nvSpPr>
        <p:spPr bwMode="gray">
          <a:xfrm>
            <a:off x="7610350" y="0"/>
            <a:ext cx="169200" cy="6858000"/>
          </a:xfrm>
          <a:prstGeom prst="rect">
            <a:avLst/>
          </a:pr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37" name="Freeform 36"/>
          <p:cNvSpPr/>
          <p:nvPr userDrawn="1"/>
        </p:nvSpPr>
        <p:spPr>
          <a:xfrm>
            <a:off x="4273950" y="4697236"/>
            <a:ext cx="6842003" cy="2160765"/>
          </a:xfrm>
          <a:custGeom>
            <a:avLst/>
            <a:gdLst>
              <a:gd name="connsiteX0" fmla="*/ 3421001 w 6842003"/>
              <a:gd name="connsiteY0" fmla="*/ 0 h 2160765"/>
              <a:gd name="connsiteX1" fmla="*/ 6741638 w 6842003"/>
              <a:gd name="connsiteY1" fmla="*/ 1954704 h 2160765"/>
              <a:gd name="connsiteX2" fmla="*/ 6842003 w 6842003"/>
              <a:gd name="connsiteY2" fmla="*/ 2160765 h 2160765"/>
              <a:gd name="connsiteX3" fmla="*/ 6658801 w 6842003"/>
              <a:gd name="connsiteY3" fmla="*/ 2160765 h 2160765"/>
              <a:gd name="connsiteX4" fmla="*/ 6596370 w 6842003"/>
              <a:gd name="connsiteY4" fmla="*/ 2032589 h 2160765"/>
              <a:gd name="connsiteX5" fmla="*/ 3421001 w 6842003"/>
              <a:gd name="connsiteY5" fmla="*/ 163397 h 2160765"/>
              <a:gd name="connsiteX6" fmla="*/ 245632 w 6842003"/>
              <a:gd name="connsiteY6" fmla="*/ 2032589 h 2160765"/>
              <a:gd name="connsiteX7" fmla="*/ 183202 w 6842003"/>
              <a:gd name="connsiteY7" fmla="*/ 2160765 h 2160765"/>
              <a:gd name="connsiteX8" fmla="*/ 0 w 6842003"/>
              <a:gd name="connsiteY8" fmla="*/ 2160765 h 2160765"/>
              <a:gd name="connsiteX9" fmla="*/ 100364 w 6842003"/>
              <a:gd name="connsiteY9" fmla="*/ 1954704 h 2160765"/>
              <a:gd name="connsiteX10" fmla="*/ 3421001 w 6842003"/>
              <a:gd name="connsiteY10" fmla="*/ 0 h 2160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42003" h="2160765">
                <a:moveTo>
                  <a:pt x="3421001" y="0"/>
                </a:moveTo>
                <a:cubicBezTo>
                  <a:pt x="4854896" y="0"/>
                  <a:pt x="6102140" y="790395"/>
                  <a:pt x="6741638" y="1954704"/>
                </a:cubicBezTo>
                <a:lnTo>
                  <a:pt x="6842003" y="2160765"/>
                </a:lnTo>
                <a:lnTo>
                  <a:pt x="6658801" y="2160765"/>
                </a:lnTo>
                <a:lnTo>
                  <a:pt x="6596370" y="2032589"/>
                </a:lnTo>
                <a:cubicBezTo>
                  <a:pt x="5984848" y="919214"/>
                  <a:pt x="4792167" y="163397"/>
                  <a:pt x="3421001" y="163397"/>
                </a:cubicBezTo>
                <a:cubicBezTo>
                  <a:pt x="2049835" y="163397"/>
                  <a:pt x="857154" y="919214"/>
                  <a:pt x="245632" y="2032589"/>
                </a:cubicBezTo>
                <a:lnTo>
                  <a:pt x="183202" y="2160765"/>
                </a:lnTo>
                <a:lnTo>
                  <a:pt x="0" y="2160765"/>
                </a:lnTo>
                <a:lnTo>
                  <a:pt x="100364" y="1954704"/>
                </a:lnTo>
                <a:cubicBezTo>
                  <a:pt x="739863" y="790395"/>
                  <a:pt x="1987106" y="0"/>
                  <a:pt x="3421001" y="0"/>
                </a:cubicBezTo>
                <a:close/>
              </a:path>
            </a:pathLst>
          </a:custGeom>
          <a:solidFill>
            <a:srgbClr val="7AC5B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18"/>
          </p:nvPr>
        </p:nvSpPr>
        <p:spPr bwMode="gray">
          <a:xfrm>
            <a:off x="7779549" y="0"/>
            <a:ext cx="4412451" cy="6858000"/>
          </a:xfrm>
          <a:custGeom>
            <a:avLst/>
            <a:gdLst>
              <a:gd name="connsiteX0" fmla="*/ 0 w 4412451"/>
              <a:gd name="connsiteY0" fmla="*/ 4864858 h 6858000"/>
              <a:gd name="connsiteX1" fmla="*/ 284628 w 4412451"/>
              <a:gd name="connsiteY1" fmla="*/ 4879072 h 6858000"/>
              <a:gd name="connsiteX2" fmla="*/ 3090771 w 4412451"/>
              <a:gd name="connsiteY2" fmla="*/ 6729824 h 6858000"/>
              <a:gd name="connsiteX3" fmla="*/ 3157146 w 4412451"/>
              <a:gd name="connsiteY3" fmla="*/ 6858000 h 6858000"/>
              <a:gd name="connsiteX4" fmla="*/ 0 w 4412451"/>
              <a:gd name="connsiteY4" fmla="*/ 6858000 h 6858000"/>
              <a:gd name="connsiteX5" fmla="*/ 0 w 4412451"/>
              <a:gd name="connsiteY5" fmla="*/ 0 h 6858000"/>
              <a:gd name="connsiteX6" fmla="*/ 4412451 w 4412451"/>
              <a:gd name="connsiteY6" fmla="*/ 0 h 6858000"/>
              <a:gd name="connsiteX7" fmla="*/ 4412451 w 4412451"/>
              <a:gd name="connsiteY7" fmla="*/ 6858000 h 6858000"/>
              <a:gd name="connsiteX8" fmla="*/ 3340011 w 4412451"/>
              <a:gd name="connsiteY8" fmla="*/ 6858000 h 6858000"/>
              <a:gd name="connsiteX9" fmla="*/ 3319436 w 4412451"/>
              <a:gd name="connsiteY9" fmla="*/ 6812987 h 6858000"/>
              <a:gd name="connsiteX10" fmla="*/ 301520 w 4412451"/>
              <a:gd name="connsiteY10" fmla="*/ 4716519 h 6858000"/>
              <a:gd name="connsiteX11" fmla="*/ 0 w 4412451"/>
              <a:gd name="connsiteY11" fmla="*/ 4701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12451" h="6858000">
                <a:moveTo>
                  <a:pt x="0" y="4864858"/>
                </a:moveTo>
                <a:lnTo>
                  <a:pt x="284628" y="4879072"/>
                </a:lnTo>
                <a:cubicBezTo>
                  <a:pt x="1498616" y="5001009"/>
                  <a:pt x="2534841" y="5717665"/>
                  <a:pt x="3090771" y="6729824"/>
                </a:cubicBezTo>
                <a:lnTo>
                  <a:pt x="3157146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412451" y="0"/>
                </a:lnTo>
                <a:lnTo>
                  <a:pt x="4412451" y="6858000"/>
                </a:lnTo>
                <a:lnTo>
                  <a:pt x="3340011" y="6858000"/>
                </a:lnTo>
                <a:lnTo>
                  <a:pt x="3319436" y="6812987"/>
                </a:lnTo>
                <a:cubicBezTo>
                  <a:pt x="2762574" y="5669975"/>
                  <a:pt x="1634522" y="4850409"/>
                  <a:pt x="301520" y="4716519"/>
                </a:cubicBezTo>
                <a:lnTo>
                  <a:pt x="0" y="470146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44843" y="2988048"/>
            <a:ext cx="6658266" cy="1538883"/>
          </a:xfrm>
        </p:spPr>
        <p:txBody>
          <a:bodyPr anchor="b" anchorCtr="0"/>
          <a:lstStyle>
            <a:lvl1pPr>
              <a:lnSpc>
                <a:spcPts val="4000"/>
              </a:lnSpc>
              <a:defRPr sz="3699" b="0" baseline="0"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44843" y="4725999"/>
            <a:ext cx="5362603" cy="512961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b="1" i="0" cap="all" spc="230" baseline="0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 bwMode="gray">
          <a:xfrm>
            <a:off x="444843" y="5172621"/>
            <a:ext cx="4858735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grpSp>
        <p:nvGrpSpPr>
          <p:cNvPr id="40" name="Gruppieren 39"/>
          <p:cNvGrpSpPr/>
          <p:nvPr userDrawn="1"/>
        </p:nvGrpSpPr>
        <p:grpSpPr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42" name="Freihandform: Form 41"/>
            <p:cNvSpPr/>
            <p:nvPr userDrawn="1"/>
          </p:nvSpPr>
          <p:spPr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3" name="Freihandform: Form 42"/>
            <p:cNvSpPr/>
            <p:nvPr userDrawn="1"/>
          </p:nvSpPr>
          <p:spPr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4" name="Freihandform: Form 43"/>
            <p:cNvSpPr/>
            <p:nvPr userDrawn="1"/>
          </p:nvSpPr>
          <p:spPr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5" name="Freihandform: Form 44"/>
            <p:cNvSpPr/>
            <p:nvPr userDrawn="1"/>
          </p:nvSpPr>
          <p:spPr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46" name="Gruppieren 45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48" name="Freihandform: Form 47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49" name="Freihandform: Form 48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0" name="Freihandform: Form 49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1" name="Freihandform: Form 50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52" name="Gruppieren 51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53" name="Freihandform: Form 52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4" name="Freihandform: Form 53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55" name="Gruppieren 54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56" name="Freihandform: Form 55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57" name="Freihandform: Form 56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5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444843" y="5346736"/>
            <a:ext cx="4860000" cy="205184"/>
          </a:xfrm>
        </p:spPr>
        <p:txBody>
          <a:bodyPr/>
          <a:lstStyle>
            <a:lvl1pPr marL="0" indent="0">
              <a:lnSpc>
                <a:spcPts val="1600"/>
              </a:lnSpc>
              <a:spcBef>
                <a:spcPts val="100"/>
              </a:spcBef>
              <a:buFont typeface="+mj-lt"/>
              <a:buNone/>
              <a:defRPr sz="1200" b="1">
                <a:solidFill>
                  <a:schemeClr val="tx1"/>
                </a:solidFill>
              </a:defRPr>
            </a:lvl1pPr>
            <a:lvl2pPr>
              <a:lnSpc>
                <a:spcPts val="1600"/>
              </a:lnSpc>
              <a:spcBef>
                <a:spcPts val="100"/>
              </a:spcBef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ts val="1600"/>
              </a:lnSpc>
              <a:buNone/>
              <a:defRPr sz="1200"/>
            </a:lvl3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571" y="556530"/>
            <a:ext cx="1166859" cy="1182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73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481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119D66-E268-4737-A8A4-C0D9BEA2F792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3756944"/>
            <a:ext cx="11301057" cy="1025922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b="0" cap="all" spc="400" baseline="0">
                <a:solidFill>
                  <a:schemeClr val="tx1"/>
                </a:solidFill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grpSp>
        <p:nvGrpSpPr>
          <p:cNvPr id="20" name="Gruppieren 19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2" name="Freihandform: Form 21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5" name="Freihandform: Form 24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6" name="Gruppieren 25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8" name="Freihandform: Form 27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1" name="Freihandform: Form 30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3" name="Freihandform: Form 32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4" name="Freihandform: Form 33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6" name="Freihandform: Form 35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7" name="Freihandform: Form 36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7" name="Rechteck 26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sp>
        <p:nvSpPr>
          <p:cNvPr id="39" name="Freeform 38"/>
          <p:cNvSpPr/>
          <p:nvPr userDrawn="1"/>
        </p:nvSpPr>
        <p:spPr>
          <a:xfrm>
            <a:off x="2151350" y="-1"/>
            <a:ext cx="7889301" cy="3261266"/>
          </a:xfrm>
          <a:custGeom>
            <a:avLst/>
            <a:gdLst>
              <a:gd name="connsiteX0" fmla="*/ 2713298 w 7889301"/>
              <a:gd name="connsiteY0" fmla="*/ 2554420 h 3261266"/>
              <a:gd name="connsiteX1" fmla="*/ 2730069 w 7889301"/>
              <a:gd name="connsiteY1" fmla="*/ 2573141 h 3261266"/>
              <a:gd name="connsiteX2" fmla="*/ 3962114 w 7889301"/>
              <a:gd name="connsiteY2" fmla="*/ 3090864 h 3261266"/>
              <a:gd name="connsiteX3" fmla="*/ 5194159 w 7889301"/>
              <a:gd name="connsiteY3" fmla="*/ 2573141 h 3261266"/>
              <a:gd name="connsiteX4" fmla="*/ 5210931 w 7889301"/>
              <a:gd name="connsiteY4" fmla="*/ 2554420 h 3261266"/>
              <a:gd name="connsiteX5" fmla="*/ 5648900 w 7889301"/>
              <a:gd name="connsiteY5" fmla="*/ 1 h 3261266"/>
              <a:gd name="connsiteX6" fmla="*/ 5818100 w 7889301"/>
              <a:gd name="connsiteY6" fmla="*/ 1 h 3261266"/>
              <a:gd name="connsiteX7" fmla="*/ 5818100 w 7889301"/>
              <a:gd name="connsiteY7" fmla="*/ 357596 h 3261266"/>
              <a:gd name="connsiteX8" fmla="*/ 5779587 w 7889301"/>
              <a:gd name="connsiteY8" fmla="*/ 357596 h 3261266"/>
              <a:gd name="connsiteX9" fmla="*/ 5779587 w 7889301"/>
              <a:gd name="connsiteY9" fmla="*/ 357596 h 3261266"/>
              <a:gd name="connsiteX10" fmla="*/ 2073941 w 7889301"/>
              <a:gd name="connsiteY10" fmla="*/ 357596 h 3261266"/>
              <a:gd name="connsiteX11" fmla="*/ 2073941 w 7889301"/>
              <a:gd name="connsiteY11" fmla="*/ 357596 h 3261266"/>
              <a:gd name="connsiteX12" fmla="*/ 2070098 w 7889301"/>
              <a:gd name="connsiteY12" fmla="*/ 357596 h 3261266"/>
              <a:gd name="connsiteX13" fmla="*/ 2070098 w 7889301"/>
              <a:gd name="connsiteY13" fmla="*/ 1 h 3261266"/>
              <a:gd name="connsiteX14" fmla="*/ 2239298 w 7889301"/>
              <a:gd name="connsiteY14" fmla="*/ 1 h 3261266"/>
              <a:gd name="connsiteX15" fmla="*/ 2239298 w 7889301"/>
              <a:gd name="connsiteY15" fmla="*/ 188396 h 3261266"/>
              <a:gd name="connsiteX16" fmla="*/ 5648900 w 7889301"/>
              <a:gd name="connsiteY16" fmla="*/ 188396 h 3261266"/>
              <a:gd name="connsiteX17" fmla="*/ 7720101 w 7889301"/>
              <a:gd name="connsiteY17" fmla="*/ 0 h 3261266"/>
              <a:gd name="connsiteX18" fmla="*/ 7889301 w 7889301"/>
              <a:gd name="connsiteY18" fmla="*/ 0 h 3261266"/>
              <a:gd name="connsiteX19" fmla="*/ 7889301 w 7889301"/>
              <a:gd name="connsiteY19" fmla="*/ 2554419 h 3261266"/>
              <a:gd name="connsiteX20" fmla="*/ 7807450 w 7889301"/>
              <a:gd name="connsiteY20" fmla="*/ 2554419 h 3261266"/>
              <a:gd name="connsiteX21" fmla="*/ 7807450 w 7889301"/>
              <a:gd name="connsiteY21" fmla="*/ 2554420 h 3261266"/>
              <a:gd name="connsiteX22" fmla="*/ 5437398 w 7889301"/>
              <a:gd name="connsiteY22" fmla="*/ 2554420 h 3261266"/>
              <a:gd name="connsiteX23" fmla="*/ 5436228 w 7889301"/>
              <a:gd name="connsiteY23" fmla="*/ 2556007 h 3261266"/>
              <a:gd name="connsiteX24" fmla="*/ 3962114 w 7889301"/>
              <a:gd name="connsiteY24" fmla="*/ 3261266 h 3261266"/>
              <a:gd name="connsiteX25" fmla="*/ 2488001 w 7889301"/>
              <a:gd name="connsiteY25" fmla="*/ 2556007 h 3261266"/>
              <a:gd name="connsiteX26" fmla="*/ 2486832 w 7889301"/>
              <a:gd name="connsiteY26" fmla="*/ 2554420 h 3261266"/>
              <a:gd name="connsiteX27" fmla="*/ 46078 w 7889301"/>
              <a:gd name="connsiteY27" fmla="*/ 2554420 h 3261266"/>
              <a:gd name="connsiteX28" fmla="*/ 46078 w 7889301"/>
              <a:gd name="connsiteY28" fmla="*/ 2554419 h 3261266"/>
              <a:gd name="connsiteX29" fmla="*/ 0 w 7889301"/>
              <a:gd name="connsiteY29" fmla="*/ 2554419 h 3261266"/>
              <a:gd name="connsiteX30" fmla="*/ 0 w 7889301"/>
              <a:gd name="connsiteY30" fmla="*/ 0 h 3261266"/>
              <a:gd name="connsiteX31" fmla="*/ 169200 w 7889301"/>
              <a:gd name="connsiteY31" fmla="*/ 0 h 3261266"/>
              <a:gd name="connsiteX32" fmla="*/ 169200 w 7889301"/>
              <a:gd name="connsiteY32" fmla="*/ 2385220 h 3261266"/>
              <a:gd name="connsiteX33" fmla="*/ 7720101 w 7889301"/>
              <a:gd name="connsiteY33" fmla="*/ 2385220 h 326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889301" h="3261266">
                <a:moveTo>
                  <a:pt x="2713298" y="2554420"/>
                </a:moveTo>
                <a:lnTo>
                  <a:pt x="2730069" y="2573141"/>
                </a:lnTo>
                <a:cubicBezTo>
                  <a:pt x="3045377" y="2893017"/>
                  <a:pt x="3480971" y="3090864"/>
                  <a:pt x="3962114" y="3090864"/>
                </a:cubicBezTo>
                <a:cubicBezTo>
                  <a:pt x="4443258" y="3090864"/>
                  <a:pt x="4878852" y="2893017"/>
                  <a:pt x="5194159" y="2573141"/>
                </a:cubicBezTo>
                <a:lnTo>
                  <a:pt x="5210931" y="2554420"/>
                </a:lnTo>
                <a:close/>
                <a:moveTo>
                  <a:pt x="5648900" y="1"/>
                </a:moveTo>
                <a:lnTo>
                  <a:pt x="5818100" y="1"/>
                </a:lnTo>
                <a:lnTo>
                  <a:pt x="5818100" y="357596"/>
                </a:lnTo>
                <a:lnTo>
                  <a:pt x="5779587" y="357596"/>
                </a:lnTo>
                <a:lnTo>
                  <a:pt x="5779587" y="357596"/>
                </a:lnTo>
                <a:lnTo>
                  <a:pt x="2073941" y="357596"/>
                </a:lnTo>
                <a:lnTo>
                  <a:pt x="2073941" y="357596"/>
                </a:lnTo>
                <a:lnTo>
                  <a:pt x="2070098" y="357596"/>
                </a:lnTo>
                <a:lnTo>
                  <a:pt x="2070098" y="1"/>
                </a:lnTo>
                <a:lnTo>
                  <a:pt x="2239298" y="1"/>
                </a:lnTo>
                <a:lnTo>
                  <a:pt x="2239298" y="188396"/>
                </a:lnTo>
                <a:lnTo>
                  <a:pt x="5648900" y="188396"/>
                </a:lnTo>
                <a:close/>
                <a:moveTo>
                  <a:pt x="7720101" y="0"/>
                </a:moveTo>
                <a:lnTo>
                  <a:pt x="7889301" y="0"/>
                </a:lnTo>
                <a:lnTo>
                  <a:pt x="7889301" y="2554419"/>
                </a:lnTo>
                <a:lnTo>
                  <a:pt x="7807450" y="2554419"/>
                </a:lnTo>
                <a:lnTo>
                  <a:pt x="7807450" y="2554420"/>
                </a:lnTo>
                <a:lnTo>
                  <a:pt x="5437398" y="2554420"/>
                </a:lnTo>
                <a:lnTo>
                  <a:pt x="5436228" y="2556007"/>
                </a:lnTo>
                <a:cubicBezTo>
                  <a:pt x="5085843" y="2986726"/>
                  <a:pt x="4555582" y="3261266"/>
                  <a:pt x="3962114" y="3261266"/>
                </a:cubicBezTo>
                <a:cubicBezTo>
                  <a:pt x="3368647" y="3261266"/>
                  <a:pt x="2838386" y="2986726"/>
                  <a:pt x="2488001" y="2556007"/>
                </a:cubicBezTo>
                <a:lnTo>
                  <a:pt x="2486832" y="2554420"/>
                </a:lnTo>
                <a:lnTo>
                  <a:pt x="46078" y="2554420"/>
                </a:lnTo>
                <a:lnTo>
                  <a:pt x="46078" y="2554419"/>
                </a:lnTo>
                <a:lnTo>
                  <a:pt x="0" y="2554419"/>
                </a:lnTo>
                <a:lnTo>
                  <a:pt x="0" y="0"/>
                </a:lnTo>
                <a:lnTo>
                  <a:pt x="169200" y="0"/>
                </a:lnTo>
                <a:lnTo>
                  <a:pt x="169200" y="2385220"/>
                </a:lnTo>
                <a:lnTo>
                  <a:pt x="7720101" y="2385220"/>
                </a:lnTo>
                <a:close/>
              </a:path>
            </a:pathLst>
          </a:cu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lvl="0" indent="-180000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66"/>
          <a:stretch/>
        </p:blipFill>
        <p:spPr>
          <a:xfrm>
            <a:off x="5512571" y="556530"/>
            <a:ext cx="1166859" cy="103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265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101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59"/>
          <p:cNvSpPr/>
          <p:nvPr userDrawn="1"/>
        </p:nvSpPr>
        <p:spPr bwMode="gray">
          <a:xfrm>
            <a:off x="7610350" y="0"/>
            <a:ext cx="169200" cy="6858000"/>
          </a:xfrm>
          <a:prstGeom prst="rect">
            <a:avLst/>
          </a:pr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37" name="Freeform 36"/>
          <p:cNvSpPr/>
          <p:nvPr userDrawn="1"/>
        </p:nvSpPr>
        <p:spPr>
          <a:xfrm>
            <a:off x="4273950" y="4697236"/>
            <a:ext cx="6842003" cy="2160765"/>
          </a:xfrm>
          <a:custGeom>
            <a:avLst/>
            <a:gdLst>
              <a:gd name="connsiteX0" fmla="*/ 3421001 w 6842003"/>
              <a:gd name="connsiteY0" fmla="*/ 0 h 2160765"/>
              <a:gd name="connsiteX1" fmla="*/ 6741638 w 6842003"/>
              <a:gd name="connsiteY1" fmla="*/ 1954704 h 2160765"/>
              <a:gd name="connsiteX2" fmla="*/ 6842003 w 6842003"/>
              <a:gd name="connsiteY2" fmla="*/ 2160765 h 2160765"/>
              <a:gd name="connsiteX3" fmla="*/ 6658801 w 6842003"/>
              <a:gd name="connsiteY3" fmla="*/ 2160765 h 2160765"/>
              <a:gd name="connsiteX4" fmla="*/ 6596370 w 6842003"/>
              <a:gd name="connsiteY4" fmla="*/ 2032589 h 2160765"/>
              <a:gd name="connsiteX5" fmla="*/ 3421001 w 6842003"/>
              <a:gd name="connsiteY5" fmla="*/ 163397 h 2160765"/>
              <a:gd name="connsiteX6" fmla="*/ 245632 w 6842003"/>
              <a:gd name="connsiteY6" fmla="*/ 2032589 h 2160765"/>
              <a:gd name="connsiteX7" fmla="*/ 183202 w 6842003"/>
              <a:gd name="connsiteY7" fmla="*/ 2160765 h 2160765"/>
              <a:gd name="connsiteX8" fmla="*/ 0 w 6842003"/>
              <a:gd name="connsiteY8" fmla="*/ 2160765 h 2160765"/>
              <a:gd name="connsiteX9" fmla="*/ 100364 w 6842003"/>
              <a:gd name="connsiteY9" fmla="*/ 1954704 h 2160765"/>
              <a:gd name="connsiteX10" fmla="*/ 3421001 w 6842003"/>
              <a:gd name="connsiteY10" fmla="*/ 0 h 2160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42003" h="2160765">
                <a:moveTo>
                  <a:pt x="3421001" y="0"/>
                </a:moveTo>
                <a:cubicBezTo>
                  <a:pt x="4854896" y="0"/>
                  <a:pt x="6102140" y="790395"/>
                  <a:pt x="6741638" y="1954704"/>
                </a:cubicBezTo>
                <a:lnTo>
                  <a:pt x="6842003" y="2160765"/>
                </a:lnTo>
                <a:lnTo>
                  <a:pt x="6658801" y="2160765"/>
                </a:lnTo>
                <a:lnTo>
                  <a:pt x="6596370" y="2032589"/>
                </a:lnTo>
                <a:cubicBezTo>
                  <a:pt x="5984848" y="919214"/>
                  <a:pt x="4792167" y="163397"/>
                  <a:pt x="3421001" y="163397"/>
                </a:cubicBezTo>
                <a:cubicBezTo>
                  <a:pt x="2049835" y="163397"/>
                  <a:pt x="857154" y="919214"/>
                  <a:pt x="245632" y="2032589"/>
                </a:cubicBezTo>
                <a:lnTo>
                  <a:pt x="183202" y="2160765"/>
                </a:lnTo>
                <a:lnTo>
                  <a:pt x="0" y="2160765"/>
                </a:lnTo>
                <a:lnTo>
                  <a:pt x="100364" y="1954704"/>
                </a:lnTo>
                <a:cubicBezTo>
                  <a:pt x="739863" y="790395"/>
                  <a:pt x="1987106" y="0"/>
                  <a:pt x="3421001" y="0"/>
                </a:cubicBezTo>
                <a:close/>
              </a:path>
            </a:pathLst>
          </a:custGeom>
          <a:solidFill>
            <a:srgbClr val="7AC5B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8"/>
          </p:nvPr>
        </p:nvSpPr>
        <p:spPr bwMode="gray">
          <a:xfrm>
            <a:off x="7779549" y="0"/>
            <a:ext cx="4412451" cy="6858000"/>
          </a:xfrm>
          <a:custGeom>
            <a:avLst/>
            <a:gdLst>
              <a:gd name="connsiteX0" fmla="*/ 0 w 4412451"/>
              <a:gd name="connsiteY0" fmla="*/ 6373899 h 6858000"/>
              <a:gd name="connsiteX1" fmla="*/ 2866576 w 4412451"/>
              <a:gd name="connsiteY1" fmla="*/ 6373899 h 6858000"/>
              <a:gd name="connsiteX2" fmla="*/ 2980980 w 4412451"/>
              <a:gd name="connsiteY2" fmla="*/ 6543580 h 6858000"/>
              <a:gd name="connsiteX3" fmla="*/ 3090771 w 4412451"/>
              <a:gd name="connsiteY3" fmla="*/ 6729824 h 6858000"/>
              <a:gd name="connsiteX4" fmla="*/ 3157146 w 4412451"/>
              <a:gd name="connsiteY4" fmla="*/ 6858000 h 6858000"/>
              <a:gd name="connsiteX5" fmla="*/ 0 w 4412451"/>
              <a:gd name="connsiteY5" fmla="*/ 6858000 h 6858000"/>
              <a:gd name="connsiteX6" fmla="*/ 0 w 4412451"/>
              <a:gd name="connsiteY6" fmla="*/ 4864858 h 6858000"/>
              <a:gd name="connsiteX7" fmla="*/ 284628 w 4412451"/>
              <a:gd name="connsiteY7" fmla="*/ 4879072 h 6858000"/>
              <a:gd name="connsiteX8" fmla="*/ 2729399 w 4412451"/>
              <a:gd name="connsiteY8" fmla="*/ 6193624 h 6858000"/>
              <a:gd name="connsiteX9" fmla="*/ 2859148 w 4412451"/>
              <a:gd name="connsiteY9" fmla="*/ 6363099 h 6858000"/>
              <a:gd name="connsiteX10" fmla="*/ 0 w 4412451"/>
              <a:gd name="connsiteY10" fmla="*/ 6363099 h 6858000"/>
              <a:gd name="connsiteX11" fmla="*/ 0 w 4412451"/>
              <a:gd name="connsiteY11" fmla="*/ 0 h 6858000"/>
              <a:gd name="connsiteX12" fmla="*/ 4412451 w 4412451"/>
              <a:gd name="connsiteY12" fmla="*/ 0 h 6858000"/>
              <a:gd name="connsiteX13" fmla="*/ 4412451 w 4412451"/>
              <a:gd name="connsiteY13" fmla="*/ 6858000 h 6858000"/>
              <a:gd name="connsiteX14" fmla="*/ 3340011 w 4412451"/>
              <a:gd name="connsiteY14" fmla="*/ 6858000 h 6858000"/>
              <a:gd name="connsiteX15" fmla="*/ 3319436 w 4412451"/>
              <a:gd name="connsiteY15" fmla="*/ 6812987 h 6858000"/>
              <a:gd name="connsiteX16" fmla="*/ 3084554 w 4412451"/>
              <a:gd name="connsiteY16" fmla="*/ 6400227 h 6858000"/>
              <a:gd name="connsiteX17" fmla="*/ 3066042 w 4412451"/>
              <a:gd name="connsiteY17" fmla="*/ 6373899 h 6858000"/>
              <a:gd name="connsiteX18" fmla="*/ 3967951 w 4412451"/>
              <a:gd name="connsiteY18" fmla="*/ 6373899 h 6858000"/>
              <a:gd name="connsiteX19" fmla="*/ 3967951 w 4412451"/>
              <a:gd name="connsiteY19" fmla="*/ 6363099 h 6858000"/>
              <a:gd name="connsiteX20" fmla="*/ 3058449 w 4412451"/>
              <a:gd name="connsiteY20" fmla="*/ 6363099 h 6858000"/>
              <a:gd name="connsiteX21" fmla="*/ 2948373 w 4412451"/>
              <a:gd name="connsiteY21" fmla="*/ 6206544 h 6858000"/>
              <a:gd name="connsiteX22" fmla="*/ 301520 w 4412451"/>
              <a:gd name="connsiteY22" fmla="*/ 4716519 h 6858000"/>
              <a:gd name="connsiteX23" fmla="*/ 0 w 4412451"/>
              <a:gd name="connsiteY23" fmla="*/ 4701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412451" h="6858000">
                <a:moveTo>
                  <a:pt x="0" y="6373899"/>
                </a:moveTo>
                <a:lnTo>
                  <a:pt x="2866576" y="6373899"/>
                </a:lnTo>
                <a:lnTo>
                  <a:pt x="2980980" y="6543580"/>
                </a:lnTo>
                <a:cubicBezTo>
                  <a:pt x="3019404" y="6604459"/>
                  <a:pt x="3056025" y="6666564"/>
                  <a:pt x="3090771" y="6729824"/>
                </a:cubicBezTo>
                <a:lnTo>
                  <a:pt x="3157146" y="6858000"/>
                </a:lnTo>
                <a:lnTo>
                  <a:pt x="0" y="6858000"/>
                </a:lnTo>
                <a:close/>
                <a:moveTo>
                  <a:pt x="0" y="4864858"/>
                </a:moveTo>
                <a:lnTo>
                  <a:pt x="284628" y="4879072"/>
                </a:lnTo>
                <a:cubicBezTo>
                  <a:pt x="1270993" y="4978146"/>
                  <a:pt x="2140007" y="5469827"/>
                  <a:pt x="2729399" y="6193624"/>
                </a:cubicBezTo>
                <a:lnTo>
                  <a:pt x="2859148" y="6363099"/>
                </a:lnTo>
                <a:lnTo>
                  <a:pt x="0" y="6363099"/>
                </a:lnTo>
                <a:close/>
                <a:moveTo>
                  <a:pt x="0" y="0"/>
                </a:moveTo>
                <a:lnTo>
                  <a:pt x="4412451" y="0"/>
                </a:lnTo>
                <a:lnTo>
                  <a:pt x="4412451" y="6858000"/>
                </a:lnTo>
                <a:lnTo>
                  <a:pt x="3340011" y="6858000"/>
                </a:lnTo>
                <a:lnTo>
                  <a:pt x="3319436" y="6812987"/>
                </a:lnTo>
                <a:cubicBezTo>
                  <a:pt x="3249828" y="6670111"/>
                  <a:pt x="3171296" y="6532288"/>
                  <a:pt x="3084554" y="6400227"/>
                </a:cubicBezTo>
                <a:lnTo>
                  <a:pt x="3066042" y="6373899"/>
                </a:lnTo>
                <a:lnTo>
                  <a:pt x="3967951" y="6373899"/>
                </a:lnTo>
                <a:lnTo>
                  <a:pt x="3967951" y="6363099"/>
                </a:lnTo>
                <a:lnTo>
                  <a:pt x="3058449" y="6363099"/>
                </a:lnTo>
                <a:lnTo>
                  <a:pt x="2948373" y="6206544"/>
                </a:lnTo>
                <a:cubicBezTo>
                  <a:pt x="2332349" y="5386744"/>
                  <a:pt x="1384584" y="4825305"/>
                  <a:pt x="301520" y="4716519"/>
                </a:cubicBezTo>
                <a:lnTo>
                  <a:pt x="0" y="470146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2480776"/>
            <a:ext cx="6658266" cy="1538883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b="0" cap="all" spc="400" baseline="0">
                <a:solidFill>
                  <a:schemeClr val="tx1"/>
                </a:solidFill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13105C-3C8B-45E4-B078-C237EB3B60EA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15" name="Freihandform: Form 14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6" name="Freihandform: Form 15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7" name="Freihandform: Form 16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8" name="Freihandform: Form 17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19" name="Gruppieren 18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1" name="Freihandform: Form 20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5" name="Gruppieren 24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26" name="Freihandform: Form 25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8" name="Gruppieren 27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29" name="Freihandform: Form 28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41" name="Rechteck 33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66"/>
          <a:stretch/>
        </p:blipFill>
        <p:spPr>
          <a:xfrm>
            <a:off x="5512571" y="556530"/>
            <a:ext cx="1166859" cy="103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58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hne Bild Dunkelgrün">
    <p:bg>
      <p:bgPr>
        <a:solidFill>
          <a:srgbClr val="0049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793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119D66-E268-4737-A8A4-C0D9BEA2F792}" type="datetime1">
              <a:rPr lang="de-DE" smtClean="0"/>
              <a:pPr/>
              <a:t>07.04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105F6080-11B6-4F5B-BFCF-ADAD48E4948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3756944"/>
            <a:ext cx="11301057" cy="1025922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b="0" cap="all" spc="400" baseline="0">
                <a:solidFill>
                  <a:schemeClr val="bg1"/>
                </a:solidFill>
                <a:latin typeface="DFB Stencil Ofc" panose="02000000000000000000" pitchFamily="2" charset="0"/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grpSp>
        <p:nvGrpSpPr>
          <p:cNvPr id="20" name="Gruppieren 19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2" name="Freihandform: Form 21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5" name="Freihandform: Form 24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6" name="Gruppieren 25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8" name="Freihandform: Form 27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9" name="Freihandform: Form 28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1" name="Freihandform: Form 30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33" name="Freihandform: Form 32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4" name="Freihandform: Form 33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36" name="Freihandform: Form 35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7" name="Freihandform: Form 36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27" name="Rechteck 26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sp>
        <p:nvSpPr>
          <p:cNvPr id="39" name="Freeform 38"/>
          <p:cNvSpPr/>
          <p:nvPr userDrawn="1"/>
        </p:nvSpPr>
        <p:spPr>
          <a:xfrm>
            <a:off x="2151350" y="-1"/>
            <a:ext cx="7889301" cy="3261266"/>
          </a:xfrm>
          <a:custGeom>
            <a:avLst/>
            <a:gdLst>
              <a:gd name="connsiteX0" fmla="*/ 2713298 w 7889301"/>
              <a:gd name="connsiteY0" fmla="*/ 2554420 h 3261266"/>
              <a:gd name="connsiteX1" fmla="*/ 2730069 w 7889301"/>
              <a:gd name="connsiteY1" fmla="*/ 2573141 h 3261266"/>
              <a:gd name="connsiteX2" fmla="*/ 3962114 w 7889301"/>
              <a:gd name="connsiteY2" fmla="*/ 3090864 h 3261266"/>
              <a:gd name="connsiteX3" fmla="*/ 5194159 w 7889301"/>
              <a:gd name="connsiteY3" fmla="*/ 2573141 h 3261266"/>
              <a:gd name="connsiteX4" fmla="*/ 5210931 w 7889301"/>
              <a:gd name="connsiteY4" fmla="*/ 2554420 h 3261266"/>
              <a:gd name="connsiteX5" fmla="*/ 5648900 w 7889301"/>
              <a:gd name="connsiteY5" fmla="*/ 1 h 3261266"/>
              <a:gd name="connsiteX6" fmla="*/ 5818100 w 7889301"/>
              <a:gd name="connsiteY6" fmla="*/ 1 h 3261266"/>
              <a:gd name="connsiteX7" fmla="*/ 5818100 w 7889301"/>
              <a:gd name="connsiteY7" fmla="*/ 357596 h 3261266"/>
              <a:gd name="connsiteX8" fmla="*/ 5779587 w 7889301"/>
              <a:gd name="connsiteY8" fmla="*/ 357596 h 3261266"/>
              <a:gd name="connsiteX9" fmla="*/ 5779587 w 7889301"/>
              <a:gd name="connsiteY9" fmla="*/ 357596 h 3261266"/>
              <a:gd name="connsiteX10" fmla="*/ 2073941 w 7889301"/>
              <a:gd name="connsiteY10" fmla="*/ 357596 h 3261266"/>
              <a:gd name="connsiteX11" fmla="*/ 2073941 w 7889301"/>
              <a:gd name="connsiteY11" fmla="*/ 357596 h 3261266"/>
              <a:gd name="connsiteX12" fmla="*/ 2070098 w 7889301"/>
              <a:gd name="connsiteY12" fmla="*/ 357596 h 3261266"/>
              <a:gd name="connsiteX13" fmla="*/ 2070098 w 7889301"/>
              <a:gd name="connsiteY13" fmla="*/ 1 h 3261266"/>
              <a:gd name="connsiteX14" fmla="*/ 2239298 w 7889301"/>
              <a:gd name="connsiteY14" fmla="*/ 1 h 3261266"/>
              <a:gd name="connsiteX15" fmla="*/ 2239298 w 7889301"/>
              <a:gd name="connsiteY15" fmla="*/ 188396 h 3261266"/>
              <a:gd name="connsiteX16" fmla="*/ 5648900 w 7889301"/>
              <a:gd name="connsiteY16" fmla="*/ 188396 h 3261266"/>
              <a:gd name="connsiteX17" fmla="*/ 7720101 w 7889301"/>
              <a:gd name="connsiteY17" fmla="*/ 0 h 3261266"/>
              <a:gd name="connsiteX18" fmla="*/ 7889301 w 7889301"/>
              <a:gd name="connsiteY18" fmla="*/ 0 h 3261266"/>
              <a:gd name="connsiteX19" fmla="*/ 7889301 w 7889301"/>
              <a:gd name="connsiteY19" fmla="*/ 2554419 h 3261266"/>
              <a:gd name="connsiteX20" fmla="*/ 7807450 w 7889301"/>
              <a:gd name="connsiteY20" fmla="*/ 2554419 h 3261266"/>
              <a:gd name="connsiteX21" fmla="*/ 7807450 w 7889301"/>
              <a:gd name="connsiteY21" fmla="*/ 2554420 h 3261266"/>
              <a:gd name="connsiteX22" fmla="*/ 5437398 w 7889301"/>
              <a:gd name="connsiteY22" fmla="*/ 2554420 h 3261266"/>
              <a:gd name="connsiteX23" fmla="*/ 5436228 w 7889301"/>
              <a:gd name="connsiteY23" fmla="*/ 2556007 h 3261266"/>
              <a:gd name="connsiteX24" fmla="*/ 3962114 w 7889301"/>
              <a:gd name="connsiteY24" fmla="*/ 3261266 h 3261266"/>
              <a:gd name="connsiteX25" fmla="*/ 2488001 w 7889301"/>
              <a:gd name="connsiteY25" fmla="*/ 2556007 h 3261266"/>
              <a:gd name="connsiteX26" fmla="*/ 2486832 w 7889301"/>
              <a:gd name="connsiteY26" fmla="*/ 2554420 h 3261266"/>
              <a:gd name="connsiteX27" fmla="*/ 46078 w 7889301"/>
              <a:gd name="connsiteY27" fmla="*/ 2554420 h 3261266"/>
              <a:gd name="connsiteX28" fmla="*/ 46078 w 7889301"/>
              <a:gd name="connsiteY28" fmla="*/ 2554419 h 3261266"/>
              <a:gd name="connsiteX29" fmla="*/ 0 w 7889301"/>
              <a:gd name="connsiteY29" fmla="*/ 2554419 h 3261266"/>
              <a:gd name="connsiteX30" fmla="*/ 0 w 7889301"/>
              <a:gd name="connsiteY30" fmla="*/ 0 h 3261266"/>
              <a:gd name="connsiteX31" fmla="*/ 169200 w 7889301"/>
              <a:gd name="connsiteY31" fmla="*/ 0 h 3261266"/>
              <a:gd name="connsiteX32" fmla="*/ 169200 w 7889301"/>
              <a:gd name="connsiteY32" fmla="*/ 2385220 h 3261266"/>
              <a:gd name="connsiteX33" fmla="*/ 7720101 w 7889301"/>
              <a:gd name="connsiteY33" fmla="*/ 2385220 h 326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889301" h="3261266">
                <a:moveTo>
                  <a:pt x="2713298" y="2554420"/>
                </a:moveTo>
                <a:lnTo>
                  <a:pt x="2730069" y="2573141"/>
                </a:lnTo>
                <a:cubicBezTo>
                  <a:pt x="3045377" y="2893017"/>
                  <a:pt x="3480971" y="3090864"/>
                  <a:pt x="3962114" y="3090864"/>
                </a:cubicBezTo>
                <a:cubicBezTo>
                  <a:pt x="4443258" y="3090864"/>
                  <a:pt x="4878852" y="2893017"/>
                  <a:pt x="5194159" y="2573141"/>
                </a:cubicBezTo>
                <a:lnTo>
                  <a:pt x="5210931" y="2554420"/>
                </a:lnTo>
                <a:close/>
                <a:moveTo>
                  <a:pt x="5648900" y="1"/>
                </a:moveTo>
                <a:lnTo>
                  <a:pt x="5818100" y="1"/>
                </a:lnTo>
                <a:lnTo>
                  <a:pt x="5818100" y="357596"/>
                </a:lnTo>
                <a:lnTo>
                  <a:pt x="5779587" y="357596"/>
                </a:lnTo>
                <a:lnTo>
                  <a:pt x="5779587" y="357596"/>
                </a:lnTo>
                <a:lnTo>
                  <a:pt x="2073941" y="357596"/>
                </a:lnTo>
                <a:lnTo>
                  <a:pt x="2073941" y="357596"/>
                </a:lnTo>
                <a:lnTo>
                  <a:pt x="2070098" y="357596"/>
                </a:lnTo>
                <a:lnTo>
                  <a:pt x="2070098" y="1"/>
                </a:lnTo>
                <a:lnTo>
                  <a:pt x="2239298" y="1"/>
                </a:lnTo>
                <a:lnTo>
                  <a:pt x="2239298" y="188396"/>
                </a:lnTo>
                <a:lnTo>
                  <a:pt x="5648900" y="188396"/>
                </a:lnTo>
                <a:close/>
                <a:moveTo>
                  <a:pt x="7720101" y="0"/>
                </a:moveTo>
                <a:lnTo>
                  <a:pt x="7889301" y="0"/>
                </a:lnTo>
                <a:lnTo>
                  <a:pt x="7889301" y="2554419"/>
                </a:lnTo>
                <a:lnTo>
                  <a:pt x="7807450" y="2554419"/>
                </a:lnTo>
                <a:lnTo>
                  <a:pt x="7807450" y="2554420"/>
                </a:lnTo>
                <a:lnTo>
                  <a:pt x="5437398" y="2554420"/>
                </a:lnTo>
                <a:lnTo>
                  <a:pt x="5436228" y="2556007"/>
                </a:lnTo>
                <a:cubicBezTo>
                  <a:pt x="5085843" y="2986726"/>
                  <a:pt x="4555582" y="3261266"/>
                  <a:pt x="3962114" y="3261266"/>
                </a:cubicBezTo>
                <a:cubicBezTo>
                  <a:pt x="3368647" y="3261266"/>
                  <a:pt x="2838386" y="2986726"/>
                  <a:pt x="2488001" y="2556007"/>
                </a:cubicBezTo>
                <a:lnTo>
                  <a:pt x="2486832" y="2554420"/>
                </a:lnTo>
                <a:lnTo>
                  <a:pt x="46078" y="2554420"/>
                </a:lnTo>
                <a:lnTo>
                  <a:pt x="46078" y="2554419"/>
                </a:lnTo>
                <a:lnTo>
                  <a:pt x="0" y="2554419"/>
                </a:lnTo>
                <a:lnTo>
                  <a:pt x="0" y="0"/>
                </a:lnTo>
                <a:lnTo>
                  <a:pt x="169200" y="0"/>
                </a:lnTo>
                <a:lnTo>
                  <a:pt x="169200" y="2385220"/>
                </a:lnTo>
                <a:lnTo>
                  <a:pt x="7720101" y="2385220"/>
                </a:lnTo>
                <a:close/>
              </a:path>
            </a:pathLst>
          </a:cu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lvl="0" indent="-180000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pic>
        <p:nvPicPr>
          <p:cNvPr id="40" name="Grafik 3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66"/>
          <a:stretch/>
        </p:blipFill>
        <p:spPr>
          <a:xfrm>
            <a:off x="5512571" y="556530"/>
            <a:ext cx="1166859" cy="103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3665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it Bild Dunkelgrün">
    <p:bg>
      <p:bgPr>
        <a:solidFill>
          <a:srgbClr val="0049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87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59"/>
          <p:cNvSpPr/>
          <p:nvPr userDrawn="1"/>
        </p:nvSpPr>
        <p:spPr bwMode="gray">
          <a:xfrm>
            <a:off x="7610350" y="0"/>
            <a:ext cx="169200" cy="6858000"/>
          </a:xfrm>
          <a:prstGeom prst="rect">
            <a:avLst/>
          </a:prstGeom>
          <a:solidFill>
            <a:srgbClr val="7AC5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/>
          </a:p>
        </p:txBody>
      </p:sp>
      <p:sp>
        <p:nvSpPr>
          <p:cNvPr id="37" name="Freeform 36"/>
          <p:cNvSpPr/>
          <p:nvPr userDrawn="1"/>
        </p:nvSpPr>
        <p:spPr>
          <a:xfrm>
            <a:off x="4273950" y="4697236"/>
            <a:ext cx="6842003" cy="2160765"/>
          </a:xfrm>
          <a:custGeom>
            <a:avLst/>
            <a:gdLst>
              <a:gd name="connsiteX0" fmla="*/ 3421001 w 6842003"/>
              <a:gd name="connsiteY0" fmla="*/ 0 h 2160765"/>
              <a:gd name="connsiteX1" fmla="*/ 6741638 w 6842003"/>
              <a:gd name="connsiteY1" fmla="*/ 1954704 h 2160765"/>
              <a:gd name="connsiteX2" fmla="*/ 6842003 w 6842003"/>
              <a:gd name="connsiteY2" fmla="*/ 2160765 h 2160765"/>
              <a:gd name="connsiteX3" fmla="*/ 6658801 w 6842003"/>
              <a:gd name="connsiteY3" fmla="*/ 2160765 h 2160765"/>
              <a:gd name="connsiteX4" fmla="*/ 6596370 w 6842003"/>
              <a:gd name="connsiteY4" fmla="*/ 2032589 h 2160765"/>
              <a:gd name="connsiteX5" fmla="*/ 3421001 w 6842003"/>
              <a:gd name="connsiteY5" fmla="*/ 163397 h 2160765"/>
              <a:gd name="connsiteX6" fmla="*/ 245632 w 6842003"/>
              <a:gd name="connsiteY6" fmla="*/ 2032589 h 2160765"/>
              <a:gd name="connsiteX7" fmla="*/ 183202 w 6842003"/>
              <a:gd name="connsiteY7" fmla="*/ 2160765 h 2160765"/>
              <a:gd name="connsiteX8" fmla="*/ 0 w 6842003"/>
              <a:gd name="connsiteY8" fmla="*/ 2160765 h 2160765"/>
              <a:gd name="connsiteX9" fmla="*/ 100364 w 6842003"/>
              <a:gd name="connsiteY9" fmla="*/ 1954704 h 2160765"/>
              <a:gd name="connsiteX10" fmla="*/ 3421001 w 6842003"/>
              <a:gd name="connsiteY10" fmla="*/ 0 h 2160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42003" h="2160765">
                <a:moveTo>
                  <a:pt x="3421001" y="0"/>
                </a:moveTo>
                <a:cubicBezTo>
                  <a:pt x="4854896" y="0"/>
                  <a:pt x="6102140" y="790395"/>
                  <a:pt x="6741638" y="1954704"/>
                </a:cubicBezTo>
                <a:lnTo>
                  <a:pt x="6842003" y="2160765"/>
                </a:lnTo>
                <a:lnTo>
                  <a:pt x="6658801" y="2160765"/>
                </a:lnTo>
                <a:lnTo>
                  <a:pt x="6596370" y="2032589"/>
                </a:lnTo>
                <a:cubicBezTo>
                  <a:pt x="5984848" y="919214"/>
                  <a:pt x="4792167" y="163397"/>
                  <a:pt x="3421001" y="163397"/>
                </a:cubicBezTo>
                <a:cubicBezTo>
                  <a:pt x="2049835" y="163397"/>
                  <a:pt x="857154" y="919214"/>
                  <a:pt x="245632" y="2032589"/>
                </a:cubicBezTo>
                <a:lnTo>
                  <a:pt x="183202" y="2160765"/>
                </a:lnTo>
                <a:lnTo>
                  <a:pt x="0" y="2160765"/>
                </a:lnTo>
                <a:lnTo>
                  <a:pt x="100364" y="1954704"/>
                </a:lnTo>
                <a:cubicBezTo>
                  <a:pt x="739863" y="790395"/>
                  <a:pt x="1987106" y="0"/>
                  <a:pt x="3421001" y="0"/>
                </a:cubicBezTo>
                <a:close/>
              </a:path>
            </a:pathLst>
          </a:custGeom>
          <a:solidFill>
            <a:srgbClr val="7AC5B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 err="1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8"/>
          </p:nvPr>
        </p:nvSpPr>
        <p:spPr bwMode="gray">
          <a:xfrm>
            <a:off x="7779549" y="0"/>
            <a:ext cx="4412451" cy="6858000"/>
          </a:xfrm>
          <a:custGeom>
            <a:avLst/>
            <a:gdLst>
              <a:gd name="connsiteX0" fmla="*/ 0 w 4412451"/>
              <a:gd name="connsiteY0" fmla="*/ 4864858 h 6858000"/>
              <a:gd name="connsiteX1" fmla="*/ 284628 w 4412451"/>
              <a:gd name="connsiteY1" fmla="*/ 4879072 h 6858000"/>
              <a:gd name="connsiteX2" fmla="*/ 3090771 w 4412451"/>
              <a:gd name="connsiteY2" fmla="*/ 6729824 h 6858000"/>
              <a:gd name="connsiteX3" fmla="*/ 3157146 w 4412451"/>
              <a:gd name="connsiteY3" fmla="*/ 6858000 h 6858000"/>
              <a:gd name="connsiteX4" fmla="*/ 0 w 4412451"/>
              <a:gd name="connsiteY4" fmla="*/ 6858000 h 6858000"/>
              <a:gd name="connsiteX5" fmla="*/ 0 w 4412451"/>
              <a:gd name="connsiteY5" fmla="*/ 0 h 6858000"/>
              <a:gd name="connsiteX6" fmla="*/ 4412451 w 4412451"/>
              <a:gd name="connsiteY6" fmla="*/ 0 h 6858000"/>
              <a:gd name="connsiteX7" fmla="*/ 4412451 w 4412451"/>
              <a:gd name="connsiteY7" fmla="*/ 6858000 h 6858000"/>
              <a:gd name="connsiteX8" fmla="*/ 3340011 w 4412451"/>
              <a:gd name="connsiteY8" fmla="*/ 6858000 h 6858000"/>
              <a:gd name="connsiteX9" fmla="*/ 3319436 w 4412451"/>
              <a:gd name="connsiteY9" fmla="*/ 6812987 h 6858000"/>
              <a:gd name="connsiteX10" fmla="*/ 301520 w 4412451"/>
              <a:gd name="connsiteY10" fmla="*/ 4716519 h 6858000"/>
              <a:gd name="connsiteX11" fmla="*/ 0 w 4412451"/>
              <a:gd name="connsiteY11" fmla="*/ 470146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12451" h="6858000">
                <a:moveTo>
                  <a:pt x="0" y="4864858"/>
                </a:moveTo>
                <a:lnTo>
                  <a:pt x="284628" y="4879072"/>
                </a:lnTo>
                <a:cubicBezTo>
                  <a:pt x="1498616" y="5001009"/>
                  <a:pt x="2534841" y="5717665"/>
                  <a:pt x="3090771" y="6729824"/>
                </a:cubicBezTo>
                <a:lnTo>
                  <a:pt x="3157146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412451" y="0"/>
                </a:lnTo>
                <a:lnTo>
                  <a:pt x="4412451" y="6858000"/>
                </a:lnTo>
                <a:lnTo>
                  <a:pt x="3340011" y="6858000"/>
                </a:lnTo>
                <a:lnTo>
                  <a:pt x="3319436" y="6812987"/>
                </a:lnTo>
                <a:cubicBezTo>
                  <a:pt x="2762574" y="5669975"/>
                  <a:pt x="1634522" y="4850409"/>
                  <a:pt x="301520" y="4716519"/>
                </a:cubicBezTo>
                <a:lnTo>
                  <a:pt x="0" y="470146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72000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2480776"/>
            <a:ext cx="6658266" cy="1538883"/>
          </a:xfrm>
        </p:spPr>
        <p:txBody>
          <a:bodyPr/>
          <a:lstStyle>
            <a:lvl1pPr>
              <a:lnSpc>
                <a:spcPts val="4000"/>
              </a:lnSpc>
              <a:spcBef>
                <a:spcPts val="0"/>
              </a:spcBef>
              <a:defRPr sz="3699" b="0" cap="all" spc="400" baseline="0">
                <a:solidFill>
                  <a:schemeClr val="bg1"/>
                </a:solidFill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3105C-3C8B-45E4-B078-C237EB3B60EA}" type="datetime1">
              <a:rPr lang="de-DE" smtClean="0"/>
              <a:pPr/>
              <a:t>07.04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/  Styleguide, Musterfolien für Präsent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13" name="Gruppieren 12"/>
          <p:cNvGrpSpPr/>
          <p:nvPr userDrawn="1"/>
        </p:nvGrpSpPr>
        <p:grpSpPr bwMode="gray"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15" name="Freihandform: Form 14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6" name="Freihandform: Form 15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7" name="Freihandform: Form 16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18" name="Freihandform: Form 17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19" name="Gruppieren 18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1" name="Freihandform: Form 20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" name="Freihandform: Form 21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" name="Freihandform: Form 22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" name="Freihandform: Form 23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5" name="Gruppieren 24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26" name="Freihandform: Form 25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7" name="Freihandform: Form 26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8" name="Gruppieren 27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29" name="Freihandform: Form 28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30" name="Freihandform: Form 29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sp>
        <p:nvSpPr>
          <p:cNvPr id="34" name="Rechteck 33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66"/>
          <a:stretch/>
        </p:blipFill>
        <p:spPr>
          <a:xfrm>
            <a:off x="5512571" y="556530"/>
            <a:ext cx="1166859" cy="103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846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>
            <a:lvl1pPr>
              <a:defRPr>
                <a:latin typeface="DFB Stencil Ofc" panose="02000000000000000000" pitchFamily="2" charset="0"/>
                <a:cs typeface="DFB Stencil Ofc" panose="02000000000000000000" pitchFamily="2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5293E3B-819C-4822-B85F-53FD541430B7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44843" y="1616401"/>
            <a:ext cx="11301057" cy="615553"/>
          </a:xfrm>
        </p:spPr>
        <p:txBody>
          <a:bodyPr/>
          <a:lstStyle>
            <a:lvl1pPr marL="269794" indent="-269794">
              <a:buFont typeface="+mj-lt"/>
              <a:buAutoNum type="arabicPeriod"/>
              <a:defRPr/>
            </a:lvl1pPr>
            <a:lvl2pPr marL="269794" indent="0">
              <a:defRPr/>
            </a:lvl2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3236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35062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679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284" y="712800"/>
            <a:ext cx="10113366" cy="743793"/>
          </a:xfrm>
        </p:spPr>
        <p:txBody>
          <a:bodyPr/>
          <a:lstStyle>
            <a:lvl1pPr>
              <a:defRPr>
                <a:latin typeface="DFB Stencil Ofc" panose="02000000000000000000" pitchFamily="2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46284" y="1616607"/>
            <a:ext cx="11301057" cy="1641475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578BCA-74A2-453D-AAE6-F41C98EAC24F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33386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4843" y="712800"/>
            <a:ext cx="10113366" cy="743793"/>
          </a:xfrm>
        </p:spPr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4CC23D-F9AF-4F67-B68D-5A257C4C769A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de-DE" noProof="0" dirty="0"/>
              <a:t>Seite </a:t>
            </a:r>
            <a:fld id="{105F6080-11B6-4F5B-BFCF-ADAD48E4948B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444843" y="1616606"/>
            <a:ext cx="5506732" cy="25648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7"/>
          </p:nvPr>
        </p:nvSpPr>
        <p:spPr bwMode="gray">
          <a:xfrm>
            <a:off x="444843" y="1972173"/>
            <a:ext cx="5506732" cy="25648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/>
          </p:nvPr>
        </p:nvSpPr>
        <p:spPr bwMode="gray">
          <a:xfrm>
            <a:off x="444843" y="6066293"/>
            <a:ext cx="11301057" cy="123111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6" name="Diagrammplatzhalter 15"/>
          <p:cNvSpPr>
            <a:spLocks noGrp="1"/>
          </p:cNvSpPr>
          <p:nvPr>
            <p:ph type="chart" sz="quarter" idx="19"/>
          </p:nvPr>
        </p:nvSpPr>
        <p:spPr bwMode="gray">
          <a:xfrm>
            <a:off x="444843" y="2349500"/>
            <a:ext cx="5506732" cy="363537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 bwMode="gray">
          <a:xfrm>
            <a:off x="6250554" y="2349500"/>
            <a:ext cx="5506566" cy="192360"/>
          </a:xfrm>
        </p:spPr>
        <p:txBody>
          <a:bodyPr anchor="t" anchorCtr="0"/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444843" y="432000"/>
            <a:ext cx="10114504" cy="18466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 b="1" u="sng" cap="all" spc="190" baseline="0">
                <a:solidFill>
                  <a:schemeClr val="tx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021721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4735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Folie" r:id="rId20" imgW="276" imgH="275" progId="TCLayout.ActiveDocument.1">
                  <p:embed/>
                </p:oleObj>
              </mc:Choice>
              <mc:Fallback>
                <p:oleObj name="think-cell Folie" r:id="rId20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25"/>
          <p:cNvSpPr/>
          <p:nvPr userDrawn="1"/>
        </p:nvSpPr>
        <p:spPr>
          <a:xfrm>
            <a:off x="442913" y="6363099"/>
            <a:ext cx="11304587" cy="1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180000" indent="-180000" algn="l">
              <a:lnSpc>
                <a:spcPts val="2000"/>
              </a:lnSpc>
              <a:spcBef>
                <a:spcPts val="400"/>
              </a:spcBef>
              <a:buClr>
                <a:schemeClr val="bg1"/>
              </a:buClr>
              <a:buFont typeface="DFB Sans Ofc" panose="020B0503030500020204"/>
              <a:buChar char="›"/>
            </a:pPr>
            <a:endParaRPr lang="de-DE" sz="160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44843" y="712603"/>
            <a:ext cx="10113366" cy="7437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44843" y="1616607"/>
            <a:ext cx="11301057" cy="1641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444843" y="6498236"/>
            <a:ext cx="647831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7FE82EB9-2E9F-4CFC-99A8-720EBF4FBA9B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99836" y="6498236"/>
            <a:ext cx="9897423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/  Styleguide, Musterfolien für Präsentation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118775" y="6498236"/>
            <a:ext cx="627126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105F6080-11B6-4F5B-BFCF-ADAD48E4948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26" name="Gruppieren 225"/>
          <p:cNvGrpSpPr/>
          <p:nvPr userDrawn="1"/>
        </p:nvGrpSpPr>
        <p:grpSpPr>
          <a:xfrm>
            <a:off x="449295" y="-153684"/>
            <a:ext cx="11297861" cy="108000"/>
            <a:chOff x="449412" y="0"/>
            <a:chExt cx="11300803" cy="108000"/>
          </a:xfrm>
        </p:grpSpPr>
        <p:sp>
          <p:nvSpPr>
            <p:cNvPr id="222" name="Freihandform: Form 221"/>
            <p:cNvSpPr/>
            <p:nvPr userDrawn="1"/>
          </p:nvSpPr>
          <p:spPr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3" name="Freihandform: Form 222"/>
            <p:cNvSpPr/>
            <p:nvPr userDrawn="1"/>
          </p:nvSpPr>
          <p:spPr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4" name="Freihandform: Form 223"/>
            <p:cNvSpPr/>
            <p:nvPr userDrawn="1"/>
          </p:nvSpPr>
          <p:spPr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25" name="Freihandform: Form 224"/>
            <p:cNvSpPr/>
            <p:nvPr userDrawn="1"/>
          </p:nvSpPr>
          <p:spPr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27" name="Gruppieren 226"/>
          <p:cNvGrpSpPr/>
          <p:nvPr userDrawn="1"/>
        </p:nvGrpSpPr>
        <p:grpSpPr bwMode="gray">
          <a:xfrm>
            <a:off x="449295" y="6903684"/>
            <a:ext cx="11297861" cy="108000"/>
            <a:chOff x="449412" y="0"/>
            <a:chExt cx="11300803" cy="108000"/>
          </a:xfrm>
        </p:grpSpPr>
        <p:sp>
          <p:nvSpPr>
            <p:cNvPr id="229" name="Freihandform: Form 228"/>
            <p:cNvSpPr/>
            <p:nvPr userDrawn="1"/>
          </p:nvSpPr>
          <p:spPr bwMode="gray">
            <a:xfrm>
              <a:off x="449412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0" name="Freihandform: Form 229"/>
            <p:cNvSpPr/>
            <p:nvPr userDrawn="1"/>
          </p:nvSpPr>
          <p:spPr bwMode="gray">
            <a:xfrm>
              <a:off x="5950099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1" name="Freihandform: Form 230"/>
            <p:cNvSpPr/>
            <p:nvPr userDrawn="1"/>
          </p:nvSpPr>
          <p:spPr bwMode="gray">
            <a:xfrm>
              <a:off x="6242050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2" name="Freihandform: Form 231"/>
            <p:cNvSpPr/>
            <p:nvPr userDrawn="1"/>
          </p:nvSpPr>
          <p:spPr bwMode="gray">
            <a:xfrm>
              <a:off x="11750215" y="0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39" name="Gruppieren 238"/>
          <p:cNvGrpSpPr/>
          <p:nvPr userDrawn="1"/>
        </p:nvGrpSpPr>
        <p:grpSpPr>
          <a:xfrm>
            <a:off x="-149354" y="1664804"/>
            <a:ext cx="107973" cy="4500500"/>
            <a:chOff x="-149393" y="1664804"/>
            <a:chExt cx="108001" cy="4500500"/>
          </a:xfrm>
        </p:grpSpPr>
        <p:sp>
          <p:nvSpPr>
            <p:cNvPr id="234" name="Freihandform: Form 233"/>
            <p:cNvSpPr/>
            <p:nvPr userDrawn="1"/>
          </p:nvSpPr>
          <p:spPr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37" name="Freihandform: Form 236"/>
            <p:cNvSpPr/>
            <p:nvPr userDrawn="1"/>
          </p:nvSpPr>
          <p:spPr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grpSp>
        <p:nvGrpSpPr>
          <p:cNvPr id="240" name="Gruppieren 239"/>
          <p:cNvGrpSpPr/>
          <p:nvPr userDrawn="1"/>
        </p:nvGrpSpPr>
        <p:grpSpPr bwMode="gray">
          <a:xfrm>
            <a:off x="12233381" y="1664804"/>
            <a:ext cx="107973" cy="4500500"/>
            <a:chOff x="-149393" y="1664804"/>
            <a:chExt cx="108001" cy="4500500"/>
          </a:xfrm>
        </p:grpSpPr>
        <p:sp>
          <p:nvSpPr>
            <p:cNvPr id="241" name="Freihandform: Form 240"/>
            <p:cNvSpPr/>
            <p:nvPr userDrawn="1"/>
          </p:nvSpPr>
          <p:spPr bwMode="gray">
            <a:xfrm rot="16200000">
              <a:off x="-95392" y="61113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  <p:sp>
          <p:nvSpPr>
            <p:cNvPr id="242" name="Freihandform: Form 241"/>
            <p:cNvSpPr/>
            <p:nvPr userDrawn="1"/>
          </p:nvSpPr>
          <p:spPr bwMode="gray">
            <a:xfrm rot="16200000">
              <a:off x="-95393" y="1610804"/>
              <a:ext cx="0" cy="108000"/>
            </a:xfrm>
            <a:custGeom>
              <a:avLst/>
              <a:gdLst>
                <a:gd name="connsiteX0" fmla="*/ 0 w 0"/>
                <a:gd name="connsiteY0" fmla="*/ 0 h 224287"/>
                <a:gd name="connsiteX1" fmla="*/ 0 w 0"/>
                <a:gd name="connsiteY1" fmla="*/ 224287 h 22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24287">
                  <a:moveTo>
                    <a:pt x="0" y="0"/>
                  </a:moveTo>
                  <a:lnTo>
                    <a:pt x="0" y="224287"/>
                  </a:lnTo>
                </a:path>
              </a:pathLst>
            </a:cu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9" dirty="0"/>
            </a:p>
          </p:txBody>
        </p:sp>
      </p:grpSp>
      <p:pic>
        <p:nvPicPr>
          <p:cNvPr id="36" name="Grafik 35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843" y="440267"/>
            <a:ext cx="730800" cy="7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32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61" r:id="rId3"/>
    <p:sldLayoutId id="2147483662" r:id="rId4"/>
    <p:sldLayoutId id="2147483673" r:id="rId5"/>
    <p:sldLayoutId id="2147483674" r:id="rId6"/>
    <p:sldLayoutId id="2147483663" r:id="rId7"/>
    <p:sldLayoutId id="2147483650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71" r:id="rId14"/>
    <p:sldLayoutId id="2147483669" r:id="rId15"/>
    <p:sldLayoutId id="2147483672" r:id="rId16"/>
  </p:sldLayoutIdLst>
  <p:hf hdr="0"/>
  <p:txStyles>
    <p:titleStyle>
      <a:lvl1pPr algn="l" defTabSz="914126" rtl="0" eaLnBrk="1" latinLnBrk="0" hangingPunct="1">
        <a:lnSpc>
          <a:spcPts val="2900"/>
        </a:lnSpc>
        <a:spcBef>
          <a:spcPct val="0"/>
        </a:spcBef>
        <a:buNone/>
        <a:defRPr sz="2699" b="0" kern="1200" cap="all" spc="400" baseline="0">
          <a:solidFill>
            <a:schemeClr val="tx1"/>
          </a:solidFill>
          <a:latin typeface="DFB Stencil Ofc" panose="02000000000000000000" pitchFamily="2" charset="0"/>
          <a:ea typeface="+mj-ea"/>
          <a:cs typeface="DFB Stencil Ofc" panose="02000000000000000000" pitchFamily="2" charset="0"/>
        </a:defRPr>
      </a:lvl1pPr>
    </p:titleStyle>
    <p:bodyStyle>
      <a:lvl1pPr marL="0" indent="0" algn="l" defTabSz="914126" rtl="0" eaLnBrk="1" latinLnBrk="0" hangingPunct="1">
        <a:lnSpc>
          <a:spcPts val="2000"/>
        </a:lnSpc>
        <a:spcBef>
          <a:spcPts val="1200"/>
        </a:spcBef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126" rtl="0" eaLnBrk="1" latinLnBrk="0" hangingPunct="1">
        <a:lnSpc>
          <a:spcPts val="2000"/>
        </a:lnSpc>
        <a:spcBef>
          <a:spcPts val="8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46" indent="-179946" algn="l" defTabSz="914126" rtl="0" eaLnBrk="1" latinLnBrk="0" hangingPunct="1">
        <a:lnSpc>
          <a:spcPts val="2000"/>
        </a:lnSpc>
        <a:spcBef>
          <a:spcPts val="400"/>
        </a:spcBef>
        <a:buClr>
          <a:schemeClr val="accent2"/>
        </a:buClr>
        <a:buFont typeface="DFB Stencil" panose="02000000000000000000" pitchFamily="50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7796" indent="-179946" algn="l" defTabSz="914126" rtl="0" eaLnBrk="1" latinLnBrk="0" hangingPunct="1">
        <a:lnSpc>
          <a:spcPts val="2000"/>
        </a:lnSpc>
        <a:spcBef>
          <a:spcPts val="400"/>
        </a:spcBef>
        <a:buClr>
          <a:schemeClr val="accent2"/>
        </a:buClr>
        <a:buFont typeface="DFB Stencil" panose="02000000000000000000" pitchFamily="50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9794" indent="-269794" algn="l" defTabSz="914126" rtl="0" eaLnBrk="1" latinLnBrk="0" hangingPunct="1">
        <a:lnSpc>
          <a:spcPts val="2000"/>
        </a:lnSpc>
        <a:spcBef>
          <a:spcPts val="1200"/>
        </a:spcBef>
        <a:buClr>
          <a:schemeClr val="accent2"/>
        </a:buClr>
        <a:buFont typeface="Wingdings 3" panose="05040102010807070707" pitchFamily="18" charset="2"/>
        <a:buChar char="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0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3749" userDrawn="1">
          <p15:clr>
            <a:srgbClr val="F26B43"/>
          </p15:clr>
        </p15:guide>
        <p15:guide id="6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image" Target="../media/image7.png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72EAC7-5370-4A4F-BD3A-C5A5C478C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284" y="712800"/>
            <a:ext cx="10113366" cy="371897"/>
          </a:xfrm>
        </p:spPr>
        <p:txBody>
          <a:bodyPr/>
          <a:lstStyle/>
          <a:p>
            <a:r>
              <a:rPr lang="de-DE" dirty="0"/>
              <a:t>Prozessketten Lizenzverlängerun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A102832-E2D7-4407-946A-31F527D510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78BCA-74A2-453D-AAE6-F41C98EAC24F}" type="datetime1">
              <a:rPr lang="de-DE" noProof="0" smtClean="0"/>
              <a:t>07.04.2020</a:t>
            </a:fld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20C1769-223D-4B46-8E93-BCF767B06B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FB-Akademie / Trainer Aus-, Fort- und Weiterbild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2F22C88-116D-48D8-90BF-2575A04C30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8795" y="776680"/>
            <a:ext cx="648000" cy="648000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4B486357-658D-455B-A5A8-E850A27687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0189097"/>
              </p:ext>
            </p:extLst>
          </p:nvPr>
        </p:nvGraphicFramePr>
        <p:xfrm>
          <a:off x="444843" y="1334017"/>
          <a:ext cx="7784757" cy="1543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E1B28983-79B2-4197-8AB1-A9774D2B2C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0757040"/>
              </p:ext>
            </p:extLst>
          </p:nvPr>
        </p:nvGraphicFramePr>
        <p:xfrm>
          <a:off x="444842" y="3029193"/>
          <a:ext cx="7784757" cy="1543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425D3C13-4539-4EB5-981C-9DF8463355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410098"/>
              </p:ext>
            </p:extLst>
          </p:nvPr>
        </p:nvGraphicFramePr>
        <p:xfrm>
          <a:off x="444842" y="4630801"/>
          <a:ext cx="7784757" cy="1543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066605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FB-Akademie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final_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marL="180000" indent="-180000" algn="l">
          <a:lnSpc>
            <a:spcPts val="2000"/>
          </a:lnSpc>
          <a:spcBef>
            <a:spcPts val="400"/>
          </a:spcBef>
          <a:buClr>
            <a:schemeClr val="bg1"/>
          </a:buClr>
          <a:buFont typeface="DFB Sans Ofc" panose="020B0503030500020204"/>
          <a:buChar char="›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>
          <a:lnSpc>
            <a:spcPts val="2000"/>
          </a:lnSpc>
          <a:spcBef>
            <a:spcPts val="400"/>
          </a:spcBef>
          <a:buClr>
            <a:schemeClr val="accent2"/>
          </a:buClr>
          <a:buFont typeface="DFB Sans Ofc" panose="020B0503030500020204"/>
          <a:buChar char="›"/>
          <a:defRPr sz="1600" dirty="0" err="1" smtClean="0"/>
        </a:defPPr>
      </a:lstStyle>
    </a:txDef>
  </a:objectDefaults>
  <a:extraClrSchemeLst/>
  <a:custClrLst>
    <a:custClr name="DFB-Dunkelgrün">
      <a:srgbClr val="00493E"/>
    </a:custClr>
    <a:custClr name="DFB-Hellgrün 55%">
      <a:srgbClr val="7AC5B1"/>
    </a:custClr>
    <a:custClr name="DFB-Hellgrau">
      <a:srgbClr val="D2D2D2"/>
    </a:custClr>
    <a:custClr name="DFB-Blau">
      <a:srgbClr val="004187"/>
    </a:custClr>
    <a:custClr name="DFB-Hellblau">
      <a:srgbClr val="A5D2F0"/>
    </a:custClr>
  </a:custClrLst>
  <a:extLst>
    <a:ext uri="{05A4C25C-085E-4340-85A3-A5531E510DB2}">
      <thm15:themeFamily xmlns:thm15="http://schemas.microsoft.com/office/thememl/2012/main" name="DFB_template_scr03.potx" id="{A35E7F0C-3BE2-46ED-97D5-865806964E3C}" vid="{FD0FDBD7-2994-40BE-863F-DBF2795AEC1B}"/>
    </a:ext>
  </a:extLst>
</a:theme>
</file>

<file path=ppt/theme/theme2.xml><?xml version="1.0" encoding="utf-8"?>
<a:theme xmlns:a="http://schemas.openxmlformats.org/drawingml/2006/main" name="Office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final_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FB final_2016">
      <a:dk1>
        <a:sysClr val="windowText" lastClr="000000"/>
      </a:dk1>
      <a:lt1>
        <a:sysClr val="window" lastClr="FFFFFF"/>
      </a:lt1>
      <a:dk2>
        <a:srgbClr val="000000"/>
      </a:dk2>
      <a:lt2>
        <a:srgbClr val="878787"/>
      </a:lt2>
      <a:accent1>
        <a:srgbClr val="00965A"/>
      </a:accent1>
      <a:accent2>
        <a:srgbClr val="20AE80"/>
      </a:accent2>
      <a:accent3>
        <a:srgbClr val="878787"/>
      </a:accent3>
      <a:accent4>
        <a:srgbClr val="000000"/>
      </a:accent4>
      <a:accent5>
        <a:srgbClr val="FFCC00"/>
      </a:accent5>
      <a:accent6>
        <a:srgbClr val="E60000"/>
      </a:accent6>
      <a:hlink>
        <a:srgbClr val="0000FF"/>
      </a:hlink>
      <a:folHlink>
        <a:srgbClr val="800080"/>
      </a:folHlink>
    </a:clrScheme>
    <a:fontScheme name="DFB 2016">
      <a:majorFont>
        <a:latin typeface="DFB Sans Ofc"/>
        <a:ea typeface=""/>
        <a:cs typeface=""/>
      </a:majorFont>
      <a:minorFont>
        <a:latin typeface="DFB Sans Of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7</Words>
  <Application>Microsoft Office PowerPoint</Application>
  <PresentationFormat>Breitbild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DFB Sans Ofc</vt:lpstr>
      <vt:lpstr>DFB Stencil</vt:lpstr>
      <vt:lpstr>DFB Stencil Ofc</vt:lpstr>
      <vt:lpstr>Wingdings 3</vt:lpstr>
      <vt:lpstr>DFB-Akademie</vt:lpstr>
      <vt:lpstr>think-cell Folie</vt:lpstr>
      <vt:lpstr>Prozessketten Lizenzverlängerung</vt:lpstr>
    </vt:vector>
  </TitlesOfParts>
  <Manager>Vorname Nachname</Manager>
  <Company>DF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Vorlage</dc:subject>
  <dc:creator>Vorname Nachname</dc:creator>
  <dc:description>Für die PowerPoint Version 2013 optimiert Vorlage.</dc:description>
  <cp:lastModifiedBy>Nickel, Chiara</cp:lastModifiedBy>
  <cp:revision>168</cp:revision>
  <cp:lastPrinted>2016-12-20T13:58:34Z</cp:lastPrinted>
  <dcterms:created xsi:type="dcterms:W3CDTF">2016-11-28T08:25:22Z</dcterms:created>
  <dcterms:modified xsi:type="dcterms:W3CDTF">2020-04-07T09:11:47Z</dcterms:modified>
</cp:coreProperties>
</file>